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 id="2147483660" r:id="rId5"/>
    <p:sldMasterId id="2147483693" r:id="rId6"/>
    <p:sldMasterId id="2147483903" r:id="rId7"/>
    <p:sldMasterId id="2147483931" r:id="rId8"/>
  </p:sldMasterIdLst>
  <p:notesMasterIdLst>
    <p:notesMasterId r:id="rId103"/>
  </p:notesMasterIdLst>
  <p:sldIdLst>
    <p:sldId id="341" r:id="rId9"/>
    <p:sldId id="343" r:id="rId10"/>
    <p:sldId id="344" r:id="rId11"/>
    <p:sldId id="413" r:id="rId12"/>
    <p:sldId id="366" r:id="rId13"/>
    <p:sldId id="367" r:id="rId14"/>
    <p:sldId id="368" r:id="rId15"/>
    <p:sldId id="369" r:id="rId16"/>
    <p:sldId id="345" r:id="rId17"/>
    <p:sldId id="437" r:id="rId18"/>
    <p:sldId id="372" r:id="rId19"/>
    <p:sldId id="377" r:id="rId20"/>
    <p:sldId id="378" r:id="rId21"/>
    <p:sldId id="379" r:id="rId22"/>
    <p:sldId id="380" r:id="rId23"/>
    <p:sldId id="381" r:id="rId24"/>
    <p:sldId id="382" r:id="rId25"/>
    <p:sldId id="383" r:id="rId26"/>
    <p:sldId id="384" r:id="rId27"/>
    <p:sldId id="385" r:id="rId28"/>
    <p:sldId id="388" r:id="rId29"/>
    <p:sldId id="386" r:id="rId30"/>
    <p:sldId id="387" r:id="rId31"/>
    <p:sldId id="389" r:id="rId32"/>
    <p:sldId id="346" r:id="rId33"/>
    <p:sldId id="390" r:id="rId34"/>
    <p:sldId id="391" r:id="rId35"/>
    <p:sldId id="392" r:id="rId36"/>
    <p:sldId id="348" r:id="rId37"/>
    <p:sldId id="393" r:id="rId38"/>
    <p:sldId id="394" r:id="rId39"/>
    <p:sldId id="395" r:id="rId40"/>
    <p:sldId id="397" r:id="rId41"/>
    <p:sldId id="398" r:id="rId42"/>
    <p:sldId id="399" r:id="rId43"/>
    <p:sldId id="400" r:id="rId44"/>
    <p:sldId id="401" r:id="rId45"/>
    <p:sldId id="402" r:id="rId46"/>
    <p:sldId id="403" r:id="rId47"/>
    <p:sldId id="404" r:id="rId48"/>
    <p:sldId id="405" r:id="rId49"/>
    <p:sldId id="406" r:id="rId50"/>
    <p:sldId id="407" r:id="rId51"/>
    <p:sldId id="408" r:id="rId52"/>
    <p:sldId id="409" r:id="rId53"/>
    <p:sldId id="410" r:id="rId54"/>
    <p:sldId id="350" r:id="rId55"/>
    <p:sldId id="414" r:id="rId56"/>
    <p:sldId id="411" r:id="rId57"/>
    <p:sldId id="415" r:id="rId58"/>
    <p:sldId id="416" r:id="rId59"/>
    <p:sldId id="417" r:id="rId60"/>
    <p:sldId id="418" r:id="rId61"/>
    <p:sldId id="419" r:id="rId62"/>
    <p:sldId id="420" r:id="rId63"/>
    <p:sldId id="421" r:id="rId64"/>
    <p:sldId id="422" r:id="rId65"/>
    <p:sldId id="423" r:id="rId66"/>
    <p:sldId id="424" r:id="rId67"/>
    <p:sldId id="425" r:id="rId68"/>
    <p:sldId id="427" r:id="rId69"/>
    <p:sldId id="426" r:id="rId70"/>
    <p:sldId id="428" r:id="rId71"/>
    <p:sldId id="429" r:id="rId72"/>
    <p:sldId id="430" r:id="rId73"/>
    <p:sldId id="351" r:id="rId74"/>
    <p:sldId id="433" r:id="rId75"/>
    <p:sldId id="434" r:id="rId76"/>
    <p:sldId id="435" r:id="rId77"/>
    <p:sldId id="436" r:id="rId78"/>
    <p:sldId id="438" r:id="rId79"/>
    <p:sldId id="439" r:id="rId80"/>
    <p:sldId id="440" r:id="rId81"/>
    <p:sldId id="441" r:id="rId82"/>
    <p:sldId id="442" r:id="rId83"/>
    <p:sldId id="444" r:id="rId84"/>
    <p:sldId id="445" r:id="rId85"/>
    <p:sldId id="446" r:id="rId86"/>
    <p:sldId id="447" r:id="rId87"/>
    <p:sldId id="448" r:id="rId88"/>
    <p:sldId id="449" r:id="rId89"/>
    <p:sldId id="450" r:id="rId90"/>
    <p:sldId id="363" r:id="rId91"/>
    <p:sldId id="451" r:id="rId92"/>
    <p:sldId id="452" r:id="rId93"/>
    <p:sldId id="453" r:id="rId94"/>
    <p:sldId id="454" r:id="rId95"/>
    <p:sldId id="362" r:id="rId96"/>
    <p:sldId id="455" r:id="rId97"/>
    <p:sldId id="456" r:id="rId98"/>
    <p:sldId id="457" r:id="rId99"/>
    <p:sldId id="364" r:id="rId100"/>
    <p:sldId id="458" r:id="rId101"/>
    <p:sldId id="459" r:id="rId102"/>
  </p:sldIdLst>
  <p:sldSz cx="9906000" cy="6858000" type="A4"/>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44AF079-79B7-4763-A662-1D0D55791B37}">
          <p14:sldIdLst>
            <p14:sldId id="341"/>
            <p14:sldId id="343"/>
            <p14:sldId id="344"/>
            <p14:sldId id="413"/>
            <p14:sldId id="366"/>
            <p14:sldId id="367"/>
            <p14:sldId id="368"/>
            <p14:sldId id="369"/>
            <p14:sldId id="345"/>
            <p14:sldId id="437"/>
            <p14:sldId id="372"/>
            <p14:sldId id="377"/>
            <p14:sldId id="378"/>
            <p14:sldId id="379"/>
            <p14:sldId id="380"/>
            <p14:sldId id="381"/>
            <p14:sldId id="382"/>
            <p14:sldId id="383"/>
            <p14:sldId id="384"/>
            <p14:sldId id="385"/>
            <p14:sldId id="388"/>
            <p14:sldId id="386"/>
            <p14:sldId id="387"/>
            <p14:sldId id="389"/>
            <p14:sldId id="346"/>
            <p14:sldId id="390"/>
            <p14:sldId id="391"/>
            <p14:sldId id="392"/>
            <p14:sldId id="348"/>
            <p14:sldId id="393"/>
            <p14:sldId id="394"/>
            <p14:sldId id="395"/>
            <p14:sldId id="397"/>
            <p14:sldId id="398"/>
            <p14:sldId id="399"/>
            <p14:sldId id="400"/>
            <p14:sldId id="401"/>
            <p14:sldId id="402"/>
            <p14:sldId id="403"/>
            <p14:sldId id="404"/>
            <p14:sldId id="405"/>
            <p14:sldId id="406"/>
            <p14:sldId id="407"/>
            <p14:sldId id="408"/>
            <p14:sldId id="409"/>
            <p14:sldId id="410"/>
            <p14:sldId id="350"/>
            <p14:sldId id="414"/>
            <p14:sldId id="411"/>
            <p14:sldId id="415"/>
            <p14:sldId id="416"/>
            <p14:sldId id="417"/>
            <p14:sldId id="418"/>
            <p14:sldId id="419"/>
            <p14:sldId id="420"/>
            <p14:sldId id="421"/>
            <p14:sldId id="422"/>
            <p14:sldId id="423"/>
            <p14:sldId id="424"/>
            <p14:sldId id="425"/>
            <p14:sldId id="427"/>
            <p14:sldId id="426"/>
            <p14:sldId id="428"/>
            <p14:sldId id="429"/>
            <p14:sldId id="430"/>
            <p14:sldId id="351"/>
            <p14:sldId id="433"/>
            <p14:sldId id="434"/>
            <p14:sldId id="435"/>
            <p14:sldId id="436"/>
            <p14:sldId id="438"/>
            <p14:sldId id="439"/>
            <p14:sldId id="440"/>
            <p14:sldId id="441"/>
            <p14:sldId id="442"/>
            <p14:sldId id="444"/>
            <p14:sldId id="445"/>
            <p14:sldId id="446"/>
            <p14:sldId id="447"/>
            <p14:sldId id="448"/>
            <p14:sldId id="449"/>
            <p14:sldId id="450"/>
            <p14:sldId id="363"/>
            <p14:sldId id="451"/>
            <p14:sldId id="452"/>
            <p14:sldId id="453"/>
            <p14:sldId id="454"/>
            <p14:sldId id="362"/>
            <p14:sldId id="455"/>
            <p14:sldId id="456"/>
            <p14:sldId id="457"/>
            <p14:sldId id="364"/>
            <p14:sldId id="458"/>
            <p14:sldId id="459"/>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yazami-Adli Mohamed" initials="EM" lastIdx="1" clrIdx="0">
    <p:extLst>
      <p:ext uri="{19B8F6BF-5375-455C-9EA6-DF929625EA0E}">
        <p15:presenceInfo xmlns:p15="http://schemas.microsoft.com/office/powerpoint/2012/main" userId="S-1-5-21-383200802-4186732323-4104849335-52109" providerId="AD"/>
      </p:ext>
    </p:extLst>
  </p:cmAuthor>
  <p:cmAuthor id="2" name="Harouche Nadia" initials="HN" lastIdx="1" clrIdx="1">
    <p:extLst>
      <p:ext uri="{19B8F6BF-5375-455C-9EA6-DF929625EA0E}">
        <p15:presenceInfo xmlns:p15="http://schemas.microsoft.com/office/powerpoint/2012/main" userId="S::nadia.harouche@csmaroc.gfi.fr::4ebcfa52-f785-4bd8-817d-ccbf72961e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2C4"/>
    <a:srgbClr val="ABA1A4"/>
    <a:srgbClr val="F57100"/>
    <a:srgbClr val="C0E947"/>
    <a:srgbClr val="82DD46"/>
    <a:srgbClr val="4DCE47"/>
    <a:srgbClr val="D4FE22"/>
    <a:srgbClr val="FFB04C"/>
    <a:srgbClr val="49BE6D"/>
    <a:srgbClr val="A9D10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0" d="100"/>
          <a:sy n="150" d="100"/>
        </p:scale>
        <p:origin x="1734" y="132"/>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theme" Target="theme/theme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slide" Target="slides/slide94.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159B6-2759-4DED-A09B-3F2A452E1F9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fr-FR"/>
        </a:p>
      </dgm:t>
    </dgm:pt>
    <dgm:pt modelId="{89C75BD4-0AE0-4BC1-8362-939994F8B521}">
      <dgm:prSet phldrT="[Texte]" custT="1"/>
      <dgm:spPr/>
      <dgm:t>
        <a:bodyPr/>
        <a:lstStyle/>
        <a:p>
          <a:r>
            <a:rPr lang="fr-FR" sz="1800" b="1" u="sng" dirty="0">
              <a:solidFill>
                <a:schemeClr val="tx2"/>
              </a:solidFill>
            </a:rPr>
            <a:t>API, Applicatifs et Architecture</a:t>
          </a:r>
        </a:p>
      </dgm:t>
    </dgm:pt>
    <dgm:pt modelId="{8EEC2183-3EC6-4D67-8245-08AFF534528A}" type="parTrans" cxnId="{B61B3CE8-116B-432B-A42A-DA22A64DB10B}">
      <dgm:prSet/>
      <dgm:spPr/>
      <dgm:t>
        <a:bodyPr/>
        <a:lstStyle/>
        <a:p>
          <a:endParaRPr lang="fr-FR"/>
        </a:p>
      </dgm:t>
    </dgm:pt>
    <dgm:pt modelId="{3E859EAA-1A22-4B4C-A9D9-27693294BD69}" type="sibTrans" cxnId="{B61B3CE8-116B-432B-A42A-DA22A64DB10B}">
      <dgm:prSet/>
      <dgm:spPr/>
      <dgm:t>
        <a:bodyPr/>
        <a:lstStyle/>
        <a:p>
          <a:endParaRPr lang="fr-FR"/>
        </a:p>
      </dgm:t>
    </dgm:pt>
    <dgm:pt modelId="{B1470EAD-DC6D-4BD7-A6F7-0DBB60EF5A44}">
      <dgm:prSet phldrT="[Texte]" custT="1"/>
      <dgm:spPr/>
      <dgm:t>
        <a:bodyPr/>
        <a:lstStyle/>
        <a:p>
          <a:r>
            <a:rPr lang="fr-FR" sz="1600" b="1" dirty="0" err="1">
              <a:solidFill>
                <a:schemeClr val="tx2"/>
              </a:solidFill>
            </a:rPr>
            <a:t>SpringBoot</a:t>
          </a:r>
          <a:r>
            <a:rPr lang="fr-FR" sz="1800" b="1" dirty="0">
              <a:solidFill>
                <a:schemeClr val="tx2"/>
              </a:solidFill>
            </a:rPr>
            <a:t> 2.4.9</a:t>
          </a:r>
        </a:p>
      </dgm:t>
    </dgm:pt>
    <dgm:pt modelId="{17562937-A9E0-40D7-AF9C-6ACFDA9293FA}" type="parTrans" cxnId="{F15C1296-CF10-400D-8D60-0095481754E0}">
      <dgm:prSet/>
      <dgm:spPr/>
      <dgm:t>
        <a:bodyPr/>
        <a:lstStyle/>
        <a:p>
          <a:endParaRPr lang="fr-FR"/>
        </a:p>
      </dgm:t>
    </dgm:pt>
    <dgm:pt modelId="{24AC53EA-13AD-4B89-8F13-D4E4020376E1}" type="sibTrans" cxnId="{F15C1296-CF10-400D-8D60-0095481754E0}">
      <dgm:prSet/>
      <dgm:spPr/>
      <dgm:t>
        <a:bodyPr/>
        <a:lstStyle/>
        <a:p>
          <a:endParaRPr lang="fr-FR"/>
        </a:p>
      </dgm:t>
    </dgm:pt>
    <dgm:pt modelId="{4ACC8360-BBAA-469F-AB30-FFE3E6A2B0FB}">
      <dgm:prSet phldrT="[Texte]" custT="1"/>
      <dgm:spPr/>
      <dgm:t>
        <a:bodyPr/>
        <a:lstStyle/>
        <a:p>
          <a:r>
            <a:rPr lang="fr-FR" sz="1600" b="1" dirty="0">
              <a:solidFill>
                <a:schemeClr val="tx2"/>
              </a:solidFill>
            </a:rPr>
            <a:t>Java 8</a:t>
          </a:r>
          <a:endParaRPr lang="fr-FR" sz="1600" dirty="0"/>
        </a:p>
      </dgm:t>
    </dgm:pt>
    <dgm:pt modelId="{A3B340D0-AF0D-4E48-A682-91F9FF615BCD}" type="parTrans" cxnId="{6E7A70C5-34F7-4281-B0FD-87A0998D8DCF}">
      <dgm:prSet/>
      <dgm:spPr/>
      <dgm:t>
        <a:bodyPr/>
        <a:lstStyle/>
        <a:p>
          <a:endParaRPr lang="fr-FR"/>
        </a:p>
      </dgm:t>
    </dgm:pt>
    <dgm:pt modelId="{C57CA316-28F7-411A-B0B4-0D1E1C3A7287}" type="sibTrans" cxnId="{6E7A70C5-34F7-4281-B0FD-87A0998D8DCF}">
      <dgm:prSet/>
      <dgm:spPr/>
      <dgm:t>
        <a:bodyPr/>
        <a:lstStyle/>
        <a:p>
          <a:endParaRPr lang="fr-FR"/>
        </a:p>
      </dgm:t>
    </dgm:pt>
    <dgm:pt modelId="{0328F9CC-D634-4CDC-AFB1-A51C75D8C190}">
      <dgm:prSet phldrT="[Texte]" custT="1"/>
      <dgm:spPr/>
      <dgm:t>
        <a:bodyPr/>
        <a:lstStyle/>
        <a:p>
          <a:r>
            <a:rPr lang="fr-FR" sz="1600" b="1" dirty="0">
              <a:solidFill>
                <a:schemeClr val="tx2"/>
              </a:solidFill>
            </a:rPr>
            <a:t>Maven</a:t>
          </a:r>
          <a:endParaRPr lang="fr-FR" sz="2000" dirty="0"/>
        </a:p>
      </dgm:t>
    </dgm:pt>
    <dgm:pt modelId="{63D586D4-78CD-45AD-A63D-84C3172833DF}" type="parTrans" cxnId="{1CD1DEED-06F2-4411-9F47-9840D984FDA5}">
      <dgm:prSet/>
      <dgm:spPr/>
      <dgm:t>
        <a:bodyPr/>
        <a:lstStyle/>
        <a:p>
          <a:endParaRPr lang="fr-FR"/>
        </a:p>
      </dgm:t>
    </dgm:pt>
    <dgm:pt modelId="{99B677C4-9D56-4027-9FAD-3AB2A55D23AE}" type="sibTrans" cxnId="{1CD1DEED-06F2-4411-9F47-9840D984FDA5}">
      <dgm:prSet/>
      <dgm:spPr/>
      <dgm:t>
        <a:bodyPr/>
        <a:lstStyle/>
        <a:p>
          <a:endParaRPr lang="fr-FR"/>
        </a:p>
      </dgm:t>
    </dgm:pt>
    <dgm:pt modelId="{6C0E1634-C402-4E22-ACCC-8D02694C88C2}">
      <dgm:prSet phldrT="[Texte]" custT="1"/>
      <dgm:spPr/>
      <dgm:t>
        <a:bodyPr/>
        <a:lstStyle/>
        <a:p>
          <a:r>
            <a:rPr lang="fr-FR" sz="1600" b="1" dirty="0" err="1">
              <a:solidFill>
                <a:schemeClr val="tx2"/>
              </a:solidFill>
            </a:rPr>
            <a:t>ElasticSearch</a:t>
          </a:r>
          <a:r>
            <a:rPr lang="fr-FR" sz="1600" b="1" dirty="0">
              <a:solidFill>
                <a:schemeClr val="tx2"/>
              </a:solidFill>
            </a:rPr>
            <a:t> 7,12</a:t>
          </a:r>
          <a:endParaRPr lang="fr-FR" sz="1600" dirty="0"/>
        </a:p>
      </dgm:t>
    </dgm:pt>
    <dgm:pt modelId="{731C222C-0121-4BE0-8FA0-207092402939}" type="parTrans" cxnId="{F9667797-671E-414B-9BD6-86D57421924E}">
      <dgm:prSet/>
      <dgm:spPr/>
      <dgm:t>
        <a:bodyPr/>
        <a:lstStyle/>
        <a:p>
          <a:endParaRPr lang="fr-FR"/>
        </a:p>
      </dgm:t>
    </dgm:pt>
    <dgm:pt modelId="{85F46C2B-9518-4682-A0B7-6391E6F2FA58}" type="sibTrans" cxnId="{F9667797-671E-414B-9BD6-86D57421924E}">
      <dgm:prSet/>
      <dgm:spPr/>
      <dgm:t>
        <a:bodyPr/>
        <a:lstStyle/>
        <a:p>
          <a:endParaRPr lang="fr-FR"/>
        </a:p>
      </dgm:t>
    </dgm:pt>
    <dgm:pt modelId="{80EF14AF-6C8E-4291-9D11-605745A8FC90}">
      <dgm:prSet phldrT="[Texte]" custT="1"/>
      <dgm:spPr/>
      <dgm:t>
        <a:bodyPr/>
        <a:lstStyle/>
        <a:p>
          <a:r>
            <a:rPr lang="fr-FR" sz="1600" b="1" dirty="0" err="1">
              <a:solidFill>
                <a:schemeClr val="tx2"/>
              </a:solidFill>
            </a:rPr>
            <a:t>Angular</a:t>
          </a:r>
          <a:r>
            <a:rPr lang="fr-FR" sz="1600" b="1" dirty="0">
              <a:solidFill>
                <a:schemeClr val="tx2"/>
              </a:solidFill>
            </a:rPr>
            <a:t> 11</a:t>
          </a:r>
          <a:endParaRPr lang="fr-FR" sz="1600" dirty="0"/>
        </a:p>
      </dgm:t>
    </dgm:pt>
    <dgm:pt modelId="{19461068-AAE9-4ABE-8BFE-355CD4A2C5AC}" type="parTrans" cxnId="{72EAB773-7651-4307-BFBB-F4F88F8998CD}">
      <dgm:prSet/>
      <dgm:spPr/>
      <dgm:t>
        <a:bodyPr/>
        <a:lstStyle/>
        <a:p>
          <a:endParaRPr lang="fr-FR"/>
        </a:p>
      </dgm:t>
    </dgm:pt>
    <dgm:pt modelId="{629747CA-A00E-40EA-87BF-35AA5F2A9E55}" type="sibTrans" cxnId="{72EAB773-7651-4307-BFBB-F4F88F8998CD}">
      <dgm:prSet/>
      <dgm:spPr/>
      <dgm:t>
        <a:bodyPr/>
        <a:lstStyle/>
        <a:p>
          <a:endParaRPr lang="fr-FR"/>
        </a:p>
      </dgm:t>
    </dgm:pt>
    <dgm:pt modelId="{2ED69E9C-9AFA-4B6D-B7E7-98467BBE6A2D}">
      <dgm:prSet phldrT="[Texte]" custT="1"/>
      <dgm:spPr/>
      <dgm:t>
        <a:bodyPr/>
        <a:lstStyle/>
        <a:p>
          <a:r>
            <a:rPr lang="fr-FR" sz="1600" b="1" dirty="0">
              <a:solidFill>
                <a:schemeClr val="tx2"/>
              </a:solidFill>
            </a:rPr>
            <a:t>Bootstrap</a:t>
          </a:r>
          <a:endParaRPr lang="fr-FR" sz="1600" dirty="0"/>
        </a:p>
      </dgm:t>
    </dgm:pt>
    <dgm:pt modelId="{9451609C-1539-47BF-91EB-74F3EF21C883}" type="parTrans" cxnId="{E05B1005-34BA-48F4-9784-57D067AE7EDA}">
      <dgm:prSet/>
      <dgm:spPr/>
      <dgm:t>
        <a:bodyPr/>
        <a:lstStyle/>
        <a:p>
          <a:endParaRPr lang="fr-FR"/>
        </a:p>
      </dgm:t>
    </dgm:pt>
    <dgm:pt modelId="{43D3F19B-545C-4642-AE26-3BBBDEA81FE5}" type="sibTrans" cxnId="{E05B1005-34BA-48F4-9784-57D067AE7EDA}">
      <dgm:prSet/>
      <dgm:spPr/>
      <dgm:t>
        <a:bodyPr/>
        <a:lstStyle/>
        <a:p>
          <a:endParaRPr lang="fr-FR"/>
        </a:p>
      </dgm:t>
    </dgm:pt>
    <dgm:pt modelId="{B5D68B06-C1C9-4049-9EA3-90500810AE84}">
      <dgm:prSet phldrT="[Texte]" custT="1"/>
      <dgm:spPr/>
      <dgm:t>
        <a:bodyPr/>
        <a:lstStyle/>
        <a:p>
          <a:r>
            <a:rPr lang="fr-FR" sz="1600" b="1" dirty="0">
              <a:solidFill>
                <a:schemeClr val="tx2"/>
              </a:solidFill>
            </a:rPr>
            <a:t>Azure PostgreSQL 10</a:t>
          </a:r>
          <a:endParaRPr lang="fr-FR" sz="1600" dirty="0"/>
        </a:p>
      </dgm:t>
    </dgm:pt>
    <dgm:pt modelId="{1EA0AF04-60B7-4758-A970-FDA0FE2F9BEC}" type="parTrans" cxnId="{F845CD1B-05BA-40A1-AE7F-3A9A6DE4F6F8}">
      <dgm:prSet/>
      <dgm:spPr/>
      <dgm:t>
        <a:bodyPr/>
        <a:lstStyle/>
        <a:p>
          <a:endParaRPr lang="fr-FR"/>
        </a:p>
      </dgm:t>
    </dgm:pt>
    <dgm:pt modelId="{FD8908A3-A564-4BB1-B256-F13DF184B70A}" type="sibTrans" cxnId="{F845CD1B-05BA-40A1-AE7F-3A9A6DE4F6F8}">
      <dgm:prSet/>
      <dgm:spPr/>
      <dgm:t>
        <a:bodyPr/>
        <a:lstStyle/>
        <a:p>
          <a:endParaRPr lang="fr-FR"/>
        </a:p>
      </dgm:t>
    </dgm:pt>
    <dgm:pt modelId="{13F87E0C-3305-45D2-9F40-7BD535CD7857}">
      <dgm:prSet phldrT="[Texte]" custT="1"/>
      <dgm:spPr/>
      <dgm:t>
        <a:bodyPr/>
        <a:lstStyle/>
        <a:p>
          <a:r>
            <a:rPr lang="fr-FR" sz="1600" b="1" dirty="0">
              <a:solidFill>
                <a:schemeClr val="tx2"/>
              </a:solidFill>
            </a:rPr>
            <a:t>Docker</a:t>
          </a:r>
          <a:endParaRPr lang="fr-FR" sz="2200" dirty="0"/>
        </a:p>
      </dgm:t>
    </dgm:pt>
    <dgm:pt modelId="{C6E97263-D1BD-435D-A628-45C83841159C}" type="parTrans" cxnId="{97C4EF9F-3041-4EF5-BCD0-0F935D09227A}">
      <dgm:prSet/>
      <dgm:spPr/>
      <dgm:t>
        <a:bodyPr/>
        <a:lstStyle/>
        <a:p>
          <a:endParaRPr lang="fr-FR"/>
        </a:p>
      </dgm:t>
    </dgm:pt>
    <dgm:pt modelId="{CD1EFD0B-8A3C-4E3D-91E8-977F97489E7F}" type="sibTrans" cxnId="{97C4EF9F-3041-4EF5-BCD0-0F935D09227A}">
      <dgm:prSet/>
      <dgm:spPr/>
      <dgm:t>
        <a:bodyPr/>
        <a:lstStyle/>
        <a:p>
          <a:endParaRPr lang="fr-FR"/>
        </a:p>
      </dgm:t>
    </dgm:pt>
    <dgm:pt modelId="{C6D234C4-4780-49AF-82B3-57AD133FBF9F}">
      <dgm:prSet phldrT="[Texte]" custT="1"/>
      <dgm:spPr/>
      <dgm:t>
        <a:bodyPr/>
        <a:lstStyle/>
        <a:p>
          <a:r>
            <a:rPr lang="fr-FR" sz="1600" b="1" dirty="0">
              <a:solidFill>
                <a:schemeClr val="tx2"/>
              </a:solidFill>
            </a:rPr>
            <a:t>Azure </a:t>
          </a:r>
          <a:r>
            <a:rPr lang="fr-FR" sz="1600" b="1" dirty="0" err="1">
              <a:solidFill>
                <a:schemeClr val="tx2"/>
              </a:solidFill>
            </a:rPr>
            <a:t>Kubernetes</a:t>
          </a:r>
          <a:r>
            <a:rPr lang="fr-FR" sz="1600" b="1" dirty="0">
              <a:solidFill>
                <a:schemeClr val="tx2"/>
              </a:solidFill>
            </a:rPr>
            <a:t> Services </a:t>
          </a:r>
          <a:endParaRPr lang="fr-FR" sz="1600" dirty="0"/>
        </a:p>
      </dgm:t>
    </dgm:pt>
    <dgm:pt modelId="{741662F0-14D4-49B0-99E8-9A1334DC535D}" type="parTrans" cxnId="{3AAE91D6-E4C9-4D2D-9AC1-0D18F2EECEE6}">
      <dgm:prSet/>
      <dgm:spPr/>
      <dgm:t>
        <a:bodyPr/>
        <a:lstStyle/>
        <a:p>
          <a:endParaRPr lang="fr-FR"/>
        </a:p>
      </dgm:t>
    </dgm:pt>
    <dgm:pt modelId="{A1A830F5-CE13-4D43-9566-260E1C606FBC}" type="sibTrans" cxnId="{3AAE91D6-E4C9-4D2D-9AC1-0D18F2EECEE6}">
      <dgm:prSet/>
      <dgm:spPr/>
      <dgm:t>
        <a:bodyPr/>
        <a:lstStyle/>
        <a:p>
          <a:endParaRPr lang="fr-FR"/>
        </a:p>
      </dgm:t>
    </dgm:pt>
    <dgm:pt modelId="{2EB835EB-EBA8-4EC4-A309-2B4FA9FE6198}" type="pres">
      <dgm:prSet presAssocID="{B35159B6-2759-4DED-A09B-3F2A452E1F9C}" presName="vert0" presStyleCnt="0">
        <dgm:presLayoutVars>
          <dgm:dir/>
          <dgm:animOne val="branch"/>
          <dgm:animLvl val="lvl"/>
        </dgm:presLayoutVars>
      </dgm:prSet>
      <dgm:spPr/>
    </dgm:pt>
    <dgm:pt modelId="{35D5B795-A080-413A-8608-1C25AEC60A80}" type="pres">
      <dgm:prSet presAssocID="{89C75BD4-0AE0-4BC1-8362-939994F8B521}" presName="thickLine" presStyleLbl="alignNode1" presStyleIdx="0" presStyleCnt="1"/>
      <dgm:spPr/>
    </dgm:pt>
    <dgm:pt modelId="{2274A76E-3660-4A07-A85C-6DA112F793A8}" type="pres">
      <dgm:prSet presAssocID="{89C75BD4-0AE0-4BC1-8362-939994F8B521}" presName="horz1" presStyleCnt="0"/>
      <dgm:spPr/>
    </dgm:pt>
    <dgm:pt modelId="{75169B40-ECE5-41B7-BA5F-8E3429DA6EAE}" type="pres">
      <dgm:prSet presAssocID="{89C75BD4-0AE0-4BC1-8362-939994F8B521}" presName="tx1" presStyleLbl="revTx" presStyleIdx="0" presStyleCnt="10" custScaleX="184278"/>
      <dgm:spPr/>
    </dgm:pt>
    <dgm:pt modelId="{5D5079C5-61FF-468C-B180-B1BCC8B24680}" type="pres">
      <dgm:prSet presAssocID="{89C75BD4-0AE0-4BC1-8362-939994F8B521}" presName="vert1" presStyleCnt="0"/>
      <dgm:spPr/>
    </dgm:pt>
    <dgm:pt modelId="{C73BA379-0927-4727-B225-7649DFDF58FD}" type="pres">
      <dgm:prSet presAssocID="{B1470EAD-DC6D-4BD7-A6F7-0DBB60EF5A44}" presName="vertSpace2a" presStyleCnt="0"/>
      <dgm:spPr/>
    </dgm:pt>
    <dgm:pt modelId="{2157EFE7-2331-4220-9294-FA0B4F583ECF}" type="pres">
      <dgm:prSet presAssocID="{B1470EAD-DC6D-4BD7-A6F7-0DBB60EF5A44}" presName="horz2" presStyleCnt="0"/>
      <dgm:spPr/>
    </dgm:pt>
    <dgm:pt modelId="{84F42CDB-7559-42F8-8A02-4813D1C99703}" type="pres">
      <dgm:prSet presAssocID="{B1470EAD-DC6D-4BD7-A6F7-0DBB60EF5A44}" presName="horzSpace2" presStyleCnt="0"/>
      <dgm:spPr/>
    </dgm:pt>
    <dgm:pt modelId="{E39DAAF7-E760-4F98-9500-F71187AE4B47}" type="pres">
      <dgm:prSet presAssocID="{B1470EAD-DC6D-4BD7-A6F7-0DBB60EF5A44}" presName="tx2" presStyleLbl="revTx" presStyleIdx="1" presStyleCnt="10"/>
      <dgm:spPr/>
    </dgm:pt>
    <dgm:pt modelId="{FA3FE421-F5A7-4091-BDAB-6A5B5E6A002F}" type="pres">
      <dgm:prSet presAssocID="{B1470EAD-DC6D-4BD7-A6F7-0DBB60EF5A44}" presName="vert2" presStyleCnt="0"/>
      <dgm:spPr/>
    </dgm:pt>
    <dgm:pt modelId="{03985DF9-09EE-420C-80CE-B84217CD99DB}" type="pres">
      <dgm:prSet presAssocID="{B1470EAD-DC6D-4BD7-A6F7-0DBB60EF5A44}" presName="thinLine2b" presStyleLbl="callout" presStyleIdx="0" presStyleCnt="9"/>
      <dgm:spPr/>
    </dgm:pt>
    <dgm:pt modelId="{78B280FA-0C5A-4F38-A1A9-249260534CE9}" type="pres">
      <dgm:prSet presAssocID="{B1470EAD-DC6D-4BD7-A6F7-0DBB60EF5A44}" presName="vertSpace2b" presStyleCnt="0"/>
      <dgm:spPr/>
    </dgm:pt>
    <dgm:pt modelId="{D2784EEF-A9AC-4C42-BAC4-361C0FC72267}" type="pres">
      <dgm:prSet presAssocID="{4ACC8360-BBAA-469F-AB30-FFE3E6A2B0FB}" presName="horz2" presStyleCnt="0"/>
      <dgm:spPr/>
    </dgm:pt>
    <dgm:pt modelId="{5D30AA6C-EB6C-4870-BA5A-5A592A3DF502}" type="pres">
      <dgm:prSet presAssocID="{4ACC8360-BBAA-469F-AB30-FFE3E6A2B0FB}" presName="horzSpace2" presStyleCnt="0"/>
      <dgm:spPr/>
    </dgm:pt>
    <dgm:pt modelId="{702692EF-7316-4FBC-8321-6EFECDA0D9DD}" type="pres">
      <dgm:prSet presAssocID="{4ACC8360-BBAA-469F-AB30-FFE3E6A2B0FB}" presName="tx2" presStyleLbl="revTx" presStyleIdx="2" presStyleCnt="10"/>
      <dgm:spPr/>
    </dgm:pt>
    <dgm:pt modelId="{77331C69-3848-434E-B183-1D17DE80C8AE}" type="pres">
      <dgm:prSet presAssocID="{4ACC8360-BBAA-469F-AB30-FFE3E6A2B0FB}" presName="vert2" presStyleCnt="0"/>
      <dgm:spPr/>
    </dgm:pt>
    <dgm:pt modelId="{AB2AB4EC-389F-42C3-AFD8-25F7C6897BE2}" type="pres">
      <dgm:prSet presAssocID="{4ACC8360-BBAA-469F-AB30-FFE3E6A2B0FB}" presName="thinLine2b" presStyleLbl="callout" presStyleIdx="1" presStyleCnt="9"/>
      <dgm:spPr/>
    </dgm:pt>
    <dgm:pt modelId="{0D95C3D2-4D95-4284-8D5F-9BADCEDB32E4}" type="pres">
      <dgm:prSet presAssocID="{4ACC8360-BBAA-469F-AB30-FFE3E6A2B0FB}" presName="vertSpace2b" presStyleCnt="0"/>
      <dgm:spPr/>
    </dgm:pt>
    <dgm:pt modelId="{A62362BE-1B5C-403F-8CDE-38324942D716}" type="pres">
      <dgm:prSet presAssocID="{0328F9CC-D634-4CDC-AFB1-A51C75D8C190}" presName="horz2" presStyleCnt="0"/>
      <dgm:spPr/>
    </dgm:pt>
    <dgm:pt modelId="{A6938242-9AC1-4D34-9AEE-2AFB2B8E82FD}" type="pres">
      <dgm:prSet presAssocID="{0328F9CC-D634-4CDC-AFB1-A51C75D8C190}" presName="horzSpace2" presStyleCnt="0"/>
      <dgm:spPr/>
    </dgm:pt>
    <dgm:pt modelId="{B6ED96BA-2E5F-488D-B196-49933EC8629E}" type="pres">
      <dgm:prSet presAssocID="{0328F9CC-D634-4CDC-AFB1-A51C75D8C190}" presName="tx2" presStyleLbl="revTx" presStyleIdx="3" presStyleCnt="10"/>
      <dgm:spPr/>
    </dgm:pt>
    <dgm:pt modelId="{AACAC2BA-5B2D-4AA9-BAB5-321D6CDAEA01}" type="pres">
      <dgm:prSet presAssocID="{0328F9CC-D634-4CDC-AFB1-A51C75D8C190}" presName="vert2" presStyleCnt="0"/>
      <dgm:spPr/>
    </dgm:pt>
    <dgm:pt modelId="{AC53C367-BABC-4B44-B682-9E1A4587720F}" type="pres">
      <dgm:prSet presAssocID="{0328F9CC-D634-4CDC-AFB1-A51C75D8C190}" presName="thinLine2b" presStyleLbl="callout" presStyleIdx="2" presStyleCnt="9"/>
      <dgm:spPr/>
    </dgm:pt>
    <dgm:pt modelId="{FD5F2362-DFBE-46FA-8919-602C72EC5FEC}" type="pres">
      <dgm:prSet presAssocID="{0328F9CC-D634-4CDC-AFB1-A51C75D8C190}" presName="vertSpace2b" presStyleCnt="0"/>
      <dgm:spPr/>
    </dgm:pt>
    <dgm:pt modelId="{A5F88178-984B-4AED-9CBD-A24A38FFADEE}" type="pres">
      <dgm:prSet presAssocID="{6C0E1634-C402-4E22-ACCC-8D02694C88C2}" presName="horz2" presStyleCnt="0"/>
      <dgm:spPr/>
    </dgm:pt>
    <dgm:pt modelId="{F3DE94A6-8B0E-4823-A125-BC9CB30FDEB7}" type="pres">
      <dgm:prSet presAssocID="{6C0E1634-C402-4E22-ACCC-8D02694C88C2}" presName="horzSpace2" presStyleCnt="0"/>
      <dgm:spPr/>
    </dgm:pt>
    <dgm:pt modelId="{D3A8EBFB-4A98-4CE1-B8C0-007E1B9DB61C}" type="pres">
      <dgm:prSet presAssocID="{6C0E1634-C402-4E22-ACCC-8D02694C88C2}" presName="tx2" presStyleLbl="revTx" presStyleIdx="4" presStyleCnt="10"/>
      <dgm:spPr/>
    </dgm:pt>
    <dgm:pt modelId="{94F20D3A-2FC7-4F4C-B436-F8F0E96017FE}" type="pres">
      <dgm:prSet presAssocID="{6C0E1634-C402-4E22-ACCC-8D02694C88C2}" presName="vert2" presStyleCnt="0"/>
      <dgm:spPr/>
    </dgm:pt>
    <dgm:pt modelId="{A697DED2-2DA0-478B-B84F-0ADF7AE4F898}" type="pres">
      <dgm:prSet presAssocID="{6C0E1634-C402-4E22-ACCC-8D02694C88C2}" presName="thinLine2b" presStyleLbl="callout" presStyleIdx="3" presStyleCnt="9"/>
      <dgm:spPr/>
    </dgm:pt>
    <dgm:pt modelId="{40681DCF-9E56-4904-94EC-D2E08585D45A}" type="pres">
      <dgm:prSet presAssocID="{6C0E1634-C402-4E22-ACCC-8D02694C88C2}" presName="vertSpace2b" presStyleCnt="0"/>
      <dgm:spPr/>
    </dgm:pt>
    <dgm:pt modelId="{0BBF1087-DCC6-40F5-B31A-6C337020D28A}" type="pres">
      <dgm:prSet presAssocID="{80EF14AF-6C8E-4291-9D11-605745A8FC90}" presName="horz2" presStyleCnt="0"/>
      <dgm:spPr/>
    </dgm:pt>
    <dgm:pt modelId="{F0834CF1-57AF-4C7F-9109-FB701845BBB6}" type="pres">
      <dgm:prSet presAssocID="{80EF14AF-6C8E-4291-9D11-605745A8FC90}" presName="horzSpace2" presStyleCnt="0"/>
      <dgm:spPr/>
    </dgm:pt>
    <dgm:pt modelId="{105008EA-7BA6-4549-BEC5-D7FDAE79FCA8}" type="pres">
      <dgm:prSet presAssocID="{80EF14AF-6C8E-4291-9D11-605745A8FC90}" presName="tx2" presStyleLbl="revTx" presStyleIdx="5" presStyleCnt="10"/>
      <dgm:spPr/>
    </dgm:pt>
    <dgm:pt modelId="{289718AD-1281-4E36-A4D1-4F63840D87B1}" type="pres">
      <dgm:prSet presAssocID="{80EF14AF-6C8E-4291-9D11-605745A8FC90}" presName="vert2" presStyleCnt="0"/>
      <dgm:spPr/>
    </dgm:pt>
    <dgm:pt modelId="{AA1DDD3C-AFAE-47B7-A2F1-09F31DD94E31}" type="pres">
      <dgm:prSet presAssocID="{80EF14AF-6C8E-4291-9D11-605745A8FC90}" presName="thinLine2b" presStyleLbl="callout" presStyleIdx="4" presStyleCnt="9"/>
      <dgm:spPr/>
    </dgm:pt>
    <dgm:pt modelId="{DEFBA35D-1977-467A-A5DF-6A0D48B07470}" type="pres">
      <dgm:prSet presAssocID="{80EF14AF-6C8E-4291-9D11-605745A8FC90}" presName="vertSpace2b" presStyleCnt="0"/>
      <dgm:spPr/>
    </dgm:pt>
    <dgm:pt modelId="{40C2DFA5-9CE0-47C2-8C44-664BEBDFA7B5}" type="pres">
      <dgm:prSet presAssocID="{2ED69E9C-9AFA-4B6D-B7E7-98467BBE6A2D}" presName="horz2" presStyleCnt="0"/>
      <dgm:spPr/>
    </dgm:pt>
    <dgm:pt modelId="{AAA2ACF1-DACF-40C6-BE8E-7586C0110162}" type="pres">
      <dgm:prSet presAssocID="{2ED69E9C-9AFA-4B6D-B7E7-98467BBE6A2D}" presName="horzSpace2" presStyleCnt="0"/>
      <dgm:spPr/>
    </dgm:pt>
    <dgm:pt modelId="{54CACBF9-FC05-48CA-9C40-3037454259AE}" type="pres">
      <dgm:prSet presAssocID="{2ED69E9C-9AFA-4B6D-B7E7-98467BBE6A2D}" presName="tx2" presStyleLbl="revTx" presStyleIdx="6" presStyleCnt="10"/>
      <dgm:spPr/>
    </dgm:pt>
    <dgm:pt modelId="{4E8147AC-B3DD-4782-8937-BD0829C33F04}" type="pres">
      <dgm:prSet presAssocID="{2ED69E9C-9AFA-4B6D-B7E7-98467BBE6A2D}" presName="vert2" presStyleCnt="0"/>
      <dgm:spPr/>
    </dgm:pt>
    <dgm:pt modelId="{2A76F9DE-0CF8-4696-866D-6AEA95A88834}" type="pres">
      <dgm:prSet presAssocID="{2ED69E9C-9AFA-4B6D-B7E7-98467BBE6A2D}" presName="thinLine2b" presStyleLbl="callout" presStyleIdx="5" presStyleCnt="9"/>
      <dgm:spPr/>
    </dgm:pt>
    <dgm:pt modelId="{7ABE0121-7AE3-4BA9-A2FC-68F76519DF6E}" type="pres">
      <dgm:prSet presAssocID="{2ED69E9C-9AFA-4B6D-B7E7-98467BBE6A2D}" presName="vertSpace2b" presStyleCnt="0"/>
      <dgm:spPr/>
    </dgm:pt>
    <dgm:pt modelId="{C390C004-73D9-4022-B2E3-C071B71E27DB}" type="pres">
      <dgm:prSet presAssocID="{B5D68B06-C1C9-4049-9EA3-90500810AE84}" presName="horz2" presStyleCnt="0"/>
      <dgm:spPr/>
    </dgm:pt>
    <dgm:pt modelId="{715906C0-6260-4827-AED8-8F8DBC713A44}" type="pres">
      <dgm:prSet presAssocID="{B5D68B06-C1C9-4049-9EA3-90500810AE84}" presName="horzSpace2" presStyleCnt="0"/>
      <dgm:spPr/>
    </dgm:pt>
    <dgm:pt modelId="{08464675-5584-418C-BBB1-2EEDC17F7C23}" type="pres">
      <dgm:prSet presAssocID="{B5D68B06-C1C9-4049-9EA3-90500810AE84}" presName="tx2" presStyleLbl="revTx" presStyleIdx="7" presStyleCnt="10"/>
      <dgm:spPr/>
    </dgm:pt>
    <dgm:pt modelId="{4E482E53-E21D-4ADE-A424-3E0B8B5177E3}" type="pres">
      <dgm:prSet presAssocID="{B5D68B06-C1C9-4049-9EA3-90500810AE84}" presName="vert2" presStyleCnt="0"/>
      <dgm:spPr/>
    </dgm:pt>
    <dgm:pt modelId="{0F73DF6C-2711-4660-ADFE-BD6054E447CC}" type="pres">
      <dgm:prSet presAssocID="{B5D68B06-C1C9-4049-9EA3-90500810AE84}" presName="thinLine2b" presStyleLbl="callout" presStyleIdx="6" presStyleCnt="9"/>
      <dgm:spPr/>
    </dgm:pt>
    <dgm:pt modelId="{47801280-C0C4-457D-9C99-2A8D3B81DE93}" type="pres">
      <dgm:prSet presAssocID="{B5D68B06-C1C9-4049-9EA3-90500810AE84}" presName="vertSpace2b" presStyleCnt="0"/>
      <dgm:spPr/>
    </dgm:pt>
    <dgm:pt modelId="{243B7B94-CCAD-469D-8181-72C697E90F9C}" type="pres">
      <dgm:prSet presAssocID="{13F87E0C-3305-45D2-9F40-7BD535CD7857}" presName="horz2" presStyleCnt="0"/>
      <dgm:spPr/>
    </dgm:pt>
    <dgm:pt modelId="{D8CD1F4C-F123-49DF-8FF7-F5110C23E9C2}" type="pres">
      <dgm:prSet presAssocID="{13F87E0C-3305-45D2-9F40-7BD535CD7857}" presName="horzSpace2" presStyleCnt="0"/>
      <dgm:spPr/>
    </dgm:pt>
    <dgm:pt modelId="{26C586D6-6C0D-426F-9809-3D043EA3899A}" type="pres">
      <dgm:prSet presAssocID="{13F87E0C-3305-45D2-9F40-7BD535CD7857}" presName="tx2" presStyleLbl="revTx" presStyleIdx="8" presStyleCnt="10"/>
      <dgm:spPr/>
    </dgm:pt>
    <dgm:pt modelId="{0786E721-61F6-46CE-89F7-506EF993FC3F}" type="pres">
      <dgm:prSet presAssocID="{13F87E0C-3305-45D2-9F40-7BD535CD7857}" presName="vert2" presStyleCnt="0"/>
      <dgm:spPr/>
    </dgm:pt>
    <dgm:pt modelId="{9AB14ECA-ABC3-4FE5-9CD5-6D57F5938D02}" type="pres">
      <dgm:prSet presAssocID="{13F87E0C-3305-45D2-9F40-7BD535CD7857}" presName="thinLine2b" presStyleLbl="callout" presStyleIdx="7" presStyleCnt="9"/>
      <dgm:spPr/>
    </dgm:pt>
    <dgm:pt modelId="{5071A5E3-FF7D-488D-AB93-F58967F8A89A}" type="pres">
      <dgm:prSet presAssocID="{13F87E0C-3305-45D2-9F40-7BD535CD7857}" presName="vertSpace2b" presStyleCnt="0"/>
      <dgm:spPr/>
    </dgm:pt>
    <dgm:pt modelId="{96BABFA2-5C3F-4D4C-991E-0C41E2A3669B}" type="pres">
      <dgm:prSet presAssocID="{C6D234C4-4780-49AF-82B3-57AD133FBF9F}" presName="horz2" presStyleCnt="0"/>
      <dgm:spPr/>
    </dgm:pt>
    <dgm:pt modelId="{7E286B74-0DC8-4450-9613-7834EBDCC20A}" type="pres">
      <dgm:prSet presAssocID="{C6D234C4-4780-49AF-82B3-57AD133FBF9F}" presName="horzSpace2" presStyleCnt="0"/>
      <dgm:spPr/>
    </dgm:pt>
    <dgm:pt modelId="{6EF739EE-FFA6-4355-8BD5-F4A734186BA0}" type="pres">
      <dgm:prSet presAssocID="{C6D234C4-4780-49AF-82B3-57AD133FBF9F}" presName="tx2" presStyleLbl="revTx" presStyleIdx="9" presStyleCnt="10"/>
      <dgm:spPr/>
    </dgm:pt>
    <dgm:pt modelId="{59588650-082F-407D-9B4D-9890FCE0C592}" type="pres">
      <dgm:prSet presAssocID="{C6D234C4-4780-49AF-82B3-57AD133FBF9F}" presName="vert2" presStyleCnt="0"/>
      <dgm:spPr/>
    </dgm:pt>
    <dgm:pt modelId="{7A9CED7E-1D89-4049-84B9-6C4DB90E4E57}" type="pres">
      <dgm:prSet presAssocID="{C6D234C4-4780-49AF-82B3-57AD133FBF9F}" presName="thinLine2b" presStyleLbl="callout" presStyleIdx="8" presStyleCnt="9"/>
      <dgm:spPr/>
    </dgm:pt>
    <dgm:pt modelId="{07F29CE7-C1B2-4F69-8E17-653969E1F626}" type="pres">
      <dgm:prSet presAssocID="{C6D234C4-4780-49AF-82B3-57AD133FBF9F}" presName="vertSpace2b" presStyleCnt="0"/>
      <dgm:spPr/>
    </dgm:pt>
  </dgm:ptLst>
  <dgm:cxnLst>
    <dgm:cxn modelId="{F2B5CE01-0093-44BF-91C1-0375D5E28ECA}" type="presOf" srcId="{B35159B6-2759-4DED-A09B-3F2A452E1F9C}" destId="{2EB835EB-EBA8-4EC4-A309-2B4FA9FE6198}" srcOrd="0" destOrd="0" presId="urn:microsoft.com/office/officeart/2008/layout/LinedList"/>
    <dgm:cxn modelId="{E05B1005-34BA-48F4-9784-57D067AE7EDA}" srcId="{89C75BD4-0AE0-4BC1-8362-939994F8B521}" destId="{2ED69E9C-9AFA-4B6D-B7E7-98467BBE6A2D}" srcOrd="5" destOrd="0" parTransId="{9451609C-1539-47BF-91EB-74F3EF21C883}" sibTransId="{43D3F19B-545C-4642-AE26-3BBBDEA81FE5}"/>
    <dgm:cxn modelId="{A858BE14-B20D-48F6-8A72-731A01BB03B1}" type="presOf" srcId="{80EF14AF-6C8E-4291-9D11-605745A8FC90}" destId="{105008EA-7BA6-4549-BEC5-D7FDAE79FCA8}" srcOrd="0" destOrd="0" presId="urn:microsoft.com/office/officeart/2008/layout/LinedList"/>
    <dgm:cxn modelId="{F845CD1B-05BA-40A1-AE7F-3A9A6DE4F6F8}" srcId="{89C75BD4-0AE0-4BC1-8362-939994F8B521}" destId="{B5D68B06-C1C9-4049-9EA3-90500810AE84}" srcOrd="6" destOrd="0" parTransId="{1EA0AF04-60B7-4758-A970-FDA0FE2F9BEC}" sibTransId="{FD8908A3-A564-4BB1-B256-F13DF184B70A}"/>
    <dgm:cxn modelId="{0FFAC065-D6B6-43D4-A29E-45453838B0F3}" type="presOf" srcId="{13F87E0C-3305-45D2-9F40-7BD535CD7857}" destId="{26C586D6-6C0D-426F-9809-3D043EA3899A}" srcOrd="0" destOrd="0" presId="urn:microsoft.com/office/officeart/2008/layout/LinedList"/>
    <dgm:cxn modelId="{D5A93A69-C0DF-4037-B022-91713385443E}" type="presOf" srcId="{2ED69E9C-9AFA-4B6D-B7E7-98467BBE6A2D}" destId="{54CACBF9-FC05-48CA-9C40-3037454259AE}" srcOrd="0" destOrd="0" presId="urn:microsoft.com/office/officeart/2008/layout/LinedList"/>
    <dgm:cxn modelId="{72EAB773-7651-4307-BFBB-F4F88F8998CD}" srcId="{89C75BD4-0AE0-4BC1-8362-939994F8B521}" destId="{80EF14AF-6C8E-4291-9D11-605745A8FC90}" srcOrd="4" destOrd="0" parTransId="{19461068-AAE9-4ABE-8BFE-355CD4A2C5AC}" sibTransId="{629747CA-A00E-40EA-87BF-35AA5F2A9E55}"/>
    <dgm:cxn modelId="{8CB4B880-09F7-4694-827B-33A5B7A649DA}" type="presOf" srcId="{B5D68B06-C1C9-4049-9EA3-90500810AE84}" destId="{08464675-5584-418C-BBB1-2EEDC17F7C23}" srcOrd="0" destOrd="0" presId="urn:microsoft.com/office/officeart/2008/layout/LinedList"/>
    <dgm:cxn modelId="{EBDBCA84-9089-46E4-A678-EFCF13E5161D}" type="presOf" srcId="{89C75BD4-0AE0-4BC1-8362-939994F8B521}" destId="{75169B40-ECE5-41B7-BA5F-8E3429DA6EAE}" srcOrd="0" destOrd="0" presId="urn:microsoft.com/office/officeart/2008/layout/LinedList"/>
    <dgm:cxn modelId="{0829F891-5D85-420A-83E0-38E508ADC24A}" type="presOf" srcId="{4ACC8360-BBAA-469F-AB30-FFE3E6A2B0FB}" destId="{702692EF-7316-4FBC-8321-6EFECDA0D9DD}" srcOrd="0" destOrd="0" presId="urn:microsoft.com/office/officeart/2008/layout/LinedList"/>
    <dgm:cxn modelId="{F15C1296-CF10-400D-8D60-0095481754E0}" srcId="{89C75BD4-0AE0-4BC1-8362-939994F8B521}" destId="{B1470EAD-DC6D-4BD7-A6F7-0DBB60EF5A44}" srcOrd="0" destOrd="0" parTransId="{17562937-A9E0-40D7-AF9C-6ACFDA9293FA}" sibTransId="{24AC53EA-13AD-4B89-8F13-D4E4020376E1}"/>
    <dgm:cxn modelId="{F9667797-671E-414B-9BD6-86D57421924E}" srcId="{89C75BD4-0AE0-4BC1-8362-939994F8B521}" destId="{6C0E1634-C402-4E22-ACCC-8D02694C88C2}" srcOrd="3" destOrd="0" parTransId="{731C222C-0121-4BE0-8FA0-207092402939}" sibTransId="{85F46C2B-9518-4682-A0B7-6391E6F2FA58}"/>
    <dgm:cxn modelId="{97C4EF9F-3041-4EF5-BCD0-0F935D09227A}" srcId="{89C75BD4-0AE0-4BC1-8362-939994F8B521}" destId="{13F87E0C-3305-45D2-9F40-7BD535CD7857}" srcOrd="7" destOrd="0" parTransId="{C6E97263-D1BD-435D-A628-45C83841159C}" sibTransId="{CD1EFD0B-8A3C-4E3D-91E8-977F97489E7F}"/>
    <dgm:cxn modelId="{B53E21AE-12CB-444F-885F-9784652B773B}" type="presOf" srcId="{B1470EAD-DC6D-4BD7-A6F7-0DBB60EF5A44}" destId="{E39DAAF7-E760-4F98-9500-F71187AE4B47}" srcOrd="0" destOrd="0" presId="urn:microsoft.com/office/officeart/2008/layout/LinedList"/>
    <dgm:cxn modelId="{38D3CAB8-0329-41BE-90E5-5782F9931DE5}" type="presOf" srcId="{C6D234C4-4780-49AF-82B3-57AD133FBF9F}" destId="{6EF739EE-FFA6-4355-8BD5-F4A734186BA0}" srcOrd="0" destOrd="0" presId="urn:microsoft.com/office/officeart/2008/layout/LinedList"/>
    <dgm:cxn modelId="{6E7A70C5-34F7-4281-B0FD-87A0998D8DCF}" srcId="{89C75BD4-0AE0-4BC1-8362-939994F8B521}" destId="{4ACC8360-BBAA-469F-AB30-FFE3E6A2B0FB}" srcOrd="1" destOrd="0" parTransId="{A3B340D0-AF0D-4E48-A682-91F9FF615BCD}" sibTransId="{C57CA316-28F7-411A-B0B4-0D1E1C3A7287}"/>
    <dgm:cxn modelId="{3AAE91D6-E4C9-4D2D-9AC1-0D18F2EECEE6}" srcId="{89C75BD4-0AE0-4BC1-8362-939994F8B521}" destId="{C6D234C4-4780-49AF-82B3-57AD133FBF9F}" srcOrd="8" destOrd="0" parTransId="{741662F0-14D4-49B0-99E8-9A1334DC535D}" sibTransId="{A1A830F5-CE13-4D43-9566-260E1C606FBC}"/>
    <dgm:cxn modelId="{732B98DA-5011-44F3-9EF9-7F7F235D4E7D}" type="presOf" srcId="{6C0E1634-C402-4E22-ACCC-8D02694C88C2}" destId="{D3A8EBFB-4A98-4CE1-B8C0-007E1B9DB61C}" srcOrd="0" destOrd="0" presId="urn:microsoft.com/office/officeart/2008/layout/LinedList"/>
    <dgm:cxn modelId="{B61B3CE8-116B-432B-A42A-DA22A64DB10B}" srcId="{B35159B6-2759-4DED-A09B-3F2A452E1F9C}" destId="{89C75BD4-0AE0-4BC1-8362-939994F8B521}" srcOrd="0" destOrd="0" parTransId="{8EEC2183-3EC6-4D67-8245-08AFF534528A}" sibTransId="{3E859EAA-1A22-4B4C-A9D9-27693294BD69}"/>
    <dgm:cxn modelId="{1CD1DEED-06F2-4411-9F47-9840D984FDA5}" srcId="{89C75BD4-0AE0-4BC1-8362-939994F8B521}" destId="{0328F9CC-D634-4CDC-AFB1-A51C75D8C190}" srcOrd="2" destOrd="0" parTransId="{63D586D4-78CD-45AD-A63D-84C3172833DF}" sibTransId="{99B677C4-9D56-4027-9FAD-3AB2A55D23AE}"/>
    <dgm:cxn modelId="{6E7FEDFE-C38F-4922-8E14-2AC8DDCEF509}" type="presOf" srcId="{0328F9CC-D634-4CDC-AFB1-A51C75D8C190}" destId="{B6ED96BA-2E5F-488D-B196-49933EC8629E}" srcOrd="0" destOrd="0" presId="urn:microsoft.com/office/officeart/2008/layout/LinedList"/>
    <dgm:cxn modelId="{2C80E8DB-D893-4DD5-9EFE-307097EF8EB7}" type="presParOf" srcId="{2EB835EB-EBA8-4EC4-A309-2B4FA9FE6198}" destId="{35D5B795-A080-413A-8608-1C25AEC60A80}" srcOrd="0" destOrd="0" presId="urn:microsoft.com/office/officeart/2008/layout/LinedList"/>
    <dgm:cxn modelId="{1524BC29-8292-4E09-B5E6-32094DD77FAF}" type="presParOf" srcId="{2EB835EB-EBA8-4EC4-A309-2B4FA9FE6198}" destId="{2274A76E-3660-4A07-A85C-6DA112F793A8}" srcOrd="1" destOrd="0" presId="urn:microsoft.com/office/officeart/2008/layout/LinedList"/>
    <dgm:cxn modelId="{A0E8CAE8-663F-45F1-893A-646753F07381}" type="presParOf" srcId="{2274A76E-3660-4A07-A85C-6DA112F793A8}" destId="{75169B40-ECE5-41B7-BA5F-8E3429DA6EAE}" srcOrd="0" destOrd="0" presId="urn:microsoft.com/office/officeart/2008/layout/LinedList"/>
    <dgm:cxn modelId="{E5B626D2-4CE3-43E4-AF09-EC26D4188CC5}" type="presParOf" srcId="{2274A76E-3660-4A07-A85C-6DA112F793A8}" destId="{5D5079C5-61FF-468C-B180-B1BCC8B24680}" srcOrd="1" destOrd="0" presId="urn:microsoft.com/office/officeart/2008/layout/LinedList"/>
    <dgm:cxn modelId="{A335F886-F546-4B65-84B7-C7F708DC2E34}" type="presParOf" srcId="{5D5079C5-61FF-468C-B180-B1BCC8B24680}" destId="{C73BA379-0927-4727-B225-7649DFDF58FD}" srcOrd="0" destOrd="0" presId="urn:microsoft.com/office/officeart/2008/layout/LinedList"/>
    <dgm:cxn modelId="{1FD61C46-9485-42DF-A3E2-683FB1DB9F0C}" type="presParOf" srcId="{5D5079C5-61FF-468C-B180-B1BCC8B24680}" destId="{2157EFE7-2331-4220-9294-FA0B4F583ECF}" srcOrd="1" destOrd="0" presId="urn:microsoft.com/office/officeart/2008/layout/LinedList"/>
    <dgm:cxn modelId="{66920837-A56B-477A-B2C5-4F378629BBD6}" type="presParOf" srcId="{2157EFE7-2331-4220-9294-FA0B4F583ECF}" destId="{84F42CDB-7559-42F8-8A02-4813D1C99703}" srcOrd="0" destOrd="0" presId="urn:microsoft.com/office/officeart/2008/layout/LinedList"/>
    <dgm:cxn modelId="{78412BFE-9397-40FE-923D-A33B2B8F1842}" type="presParOf" srcId="{2157EFE7-2331-4220-9294-FA0B4F583ECF}" destId="{E39DAAF7-E760-4F98-9500-F71187AE4B47}" srcOrd="1" destOrd="0" presId="urn:microsoft.com/office/officeart/2008/layout/LinedList"/>
    <dgm:cxn modelId="{906C190A-0AC3-4F05-9629-057F8EA168EC}" type="presParOf" srcId="{2157EFE7-2331-4220-9294-FA0B4F583ECF}" destId="{FA3FE421-F5A7-4091-BDAB-6A5B5E6A002F}" srcOrd="2" destOrd="0" presId="urn:microsoft.com/office/officeart/2008/layout/LinedList"/>
    <dgm:cxn modelId="{2988CC70-E68B-4315-8074-54FCEA4CEBD1}" type="presParOf" srcId="{5D5079C5-61FF-468C-B180-B1BCC8B24680}" destId="{03985DF9-09EE-420C-80CE-B84217CD99DB}" srcOrd="2" destOrd="0" presId="urn:microsoft.com/office/officeart/2008/layout/LinedList"/>
    <dgm:cxn modelId="{1E3C59A1-C0AE-44EB-AFC6-47DCD5DAC328}" type="presParOf" srcId="{5D5079C5-61FF-468C-B180-B1BCC8B24680}" destId="{78B280FA-0C5A-4F38-A1A9-249260534CE9}" srcOrd="3" destOrd="0" presId="urn:microsoft.com/office/officeart/2008/layout/LinedList"/>
    <dgm:cxn modelId="{18C82AEC-EAD0-47BA-A73F-0ECB93538190}" type="presParOf" srcId="{5D5079C5-61FF-468C-B180-B1BCC8B24680}" destId="{D2784EEF-A9AC-4C42-BAC4-361C0FC72267}" srcOrd="4" destOrd="0" presId="urn:microsoft.com/office/officeart/2008/layout/LinedList"/>
    <dgm:cxn modelId="{5C75E8CF-839C-48E0-B7ED-1B9D69A9E1B6}" type="presParOf" srcId="{D2784EEF-A9AC-4C42-BAC4-361C0FC72267}" destId="{5D30AA6C-EB6C-4870-BA5A-5A592A3DF502}" srcOrd="0" destOrd="0" presId="urn:microsoft.com/office/officeart/2008/layout/LinedList"/>
    <dgm:cxn modelId="{9B2AAF76-1AA6-41F6-9C62-99BC36D36C94}" type="presParOf" srcId="{D2784EEF-A9AC-4C42-BAC4-361C0FC72267}" destId="{702692EF-7316-4FBC-8321-6EFECDA0D9DD}" srcOrd="1" destOrd="0" presId="urn:microsoft.com/office/officeart/2008/layout/LinedList"/>
    <dgm:cxn modelId="{ACFCCD33-FC66-4717-BFCA-B5333E8BEAD2}" type="presParOf" srcId="{D2784EEF-A9AC-4C42-BAC4-361C0FC72267}" destId="{77331C69-3848-434E-B183-1D17DE80C8AE}" srcOrd="2" destOrd="0" presId="urn:microsoft.com/office/officeart/2008/layout/LinedList"/>
    <dgm:cxn modelId="{9C609828-DE31-4440-9F1C-3EF38C03F0FF}" type="presParOf" srcId="{5D5079C5-61FF-468C-B180-B1BCC8B24680}" destId="{AB2AB4EC-389F-42C3-AFD8-25F7C6897BE2}" srcOrd="5" destOrd="0" presId="urn:microsoft.com/office/officeart/2008/layout/LinedList"/>
    <dgm:cxn modelId="{13F30BB3-B5BC-431D-8AAE-42AC5AAEB416}" type="presParOf" srcId="{5D5079C5-61FF-468C-B180-B1BCC8B24680}" destId="{0D95C3D2-4D95-4284-8D5F-9BADCEDB32E4}" srcOrd="6" destOrd="0" presId="urn:microsoft.com/office/officeart/2008/layout/LinedList"/>
    <dgm:cxn modelId="{41341D0E-9962-4110-A654-E363EFFD3C9F}" type="presParOf" srcId="{5D5079C5-61FF-468C-B180-B1BCC8B24680}" destId="{A62362BE-1B5C-403F-8CDE-38324942D716}" srcOrd="7" destOrd="0" presId="urn:microsoft.com/office/officeart/2008/layout/LinedList"/>
    <dgm:cxn modelId="{99964460-C2A7-49B8-8FBA-D2838AE1FFC3}" type="presParOf" srcId="{A62362BE-1B5C-403F-8CDE-38324942D716}" destId="{A6938242-9AC1-4D34-9AEE-2AFB2B8E82FD}" srcOrd="0" destOrd="0" presId="urn:microsoft.com/office/officeart/2008/layout/LinedList"/>
    <dgm:cxn modelId="{7EBAD8D1-596F-48C5-81AE-947E3B3E2B55}" type="presParOf" srcId="{A62362BE-1B5C-403F-8CDE-38324942D716}" destId="{B6ED96BA-2E5F-488D-B196-49933EC8629E}" srcOrd="1" destOrd="0" presId="urn:microsoft.com/office/officeart/2008/layout/LinedList"/>
    <dgm:cxn modelId="{29287708-86EB-4C2A-8162-613627C1E177}" type="presParOf" srcId="{A62362BE-1B5C-403F-8CDE-38324942D716}" destId="{AACAC2BA-5B2D-4AA9-BAB5-321D6CDAEA01}" srcOrd="2" destOrd="0" presId="urn:microsoft.com/office/officeart/2008/layout/LinedList"/>
    <dgm:cxn modelId="{17590EDC-FD6B-4243-B888-3C8AEAD90A1D}" type="presParOf" srcId="{5D5079C5-61FF-468C-B180-B1BCC8B24680}" destId="{AC53C367-BABC-4B44-B682-9E1A4587720F}" srcOrd="8" destOrd="0" presId="urn:microsoft.com/office/officeart/2008/layout/LinedList"/>
    <dgm:cxn modelId="{022335D2-B332-4B57-A413-E3E9621CD5DE}" type="presParOf" srcId="{5D5079C5-61FF-468C-B180-B1BCC8B24680}" destId="{FD5F2362-DFBE-46FA-8919-602C72EC5FEC}" srcOrd="9" destOrd="0" presId="urn:microsoft.com/office/officeart/2008/layout/LinedList"/>
    <dgm:cxn modelId="{839BBFBB-66F4-4009-8F77-8923A35CAB12}" type="presParOf" srcId="{5D5079C5-61FF-468C-B180-B1BCC8B24680}" destId="{A5F88178-984B-4AED-9CBD-A24A38FFADEE}" srcOrd="10" destOrd="0" presId="urn:microsoft.com/office/officeart/2008/layout/LinedList"/>
    <dgm:cxn modelId="{E31D2E51-27A5-49FC-8FFA-73C19AA6BA30}" type="presParOf" srcId="{A5F88178-984B-4AED-9CBD-A24A38FFADEE}" destId="{F3DE94A6-8B0E-4823-A125-BC9CB30FDEB7}" srcOrd="0" destOrd="0" presId="urn:microsoft.com/office/officeart/2008/layout/LinedList"/>
    <dgm:cxn modelId="{9FC0187A-CEDA-4D36-8EE2-C2FB50233991}" type="presParOf" srcId="{A5F88178-984B-4AED-9CBD-A24A38FFADEE}" destId="{D3A8EBFB-4A98-4CE1-B8C0-007E1B9DB61C}" srcOrd="1" destOrd="0" presId="urn:microsoft.com/office/officeart/2008/layout/LinedList"/>
    <dgm:cxn modelId="{5FD4EE4C-08AF-4594-ACA2-FC591DEB83E8}" type="presParOf" srcId="{A5F88178-984B-4AED-9CBD-A24A38FFADEE}" destId="{94F20D3A-2FC7-4F4C-B436-F8F0E96017FE}" srcOrd="2" destOrd="0" presId="urn:microsoft.com/office/officeart/2008/layout/LinedList"/>
    <dgm:cxn modelId="{A9094F35-8022-428E-A785-0F5A211F98FF}" type="presParOf" srcId="{5D5079C5-61FF-468C-B180-B1BCC8B24680}" destId="{A697DED2-2DA0-478B-B84F-0ADF7AE4F898}" srcOrd="11" destOrd="0" presId="urn:microsoft.com/office/officeart/2008/layout/LinedList"/>
    <dgm:cxn modelId="{B16417FD-18B7-4FEE-BCE0-340C21AD4D0C}" type="presParOf" srcId="{5D5079C5-61FF-468C-B180-B1BCC8B24680}" destId="{40681DCF-9E56-4904-94EC-D2E08585D45A}" srcOrd="12" destOrd="0" presId="urn:microsoft.com/office/officeart/2008/layout/LinedList"/>
    <dgm:cxn modelId="{10D975AC-BA73-4953-B914-29C111AFC596}" type="presParOf" srcId="{5D5079C5-61FF-468C-B180-B1BCC8B24680}" destId="{0BBF1087-DCC6-40F5-B31A-6C337020D28A}" srcOrd="13" destOrd="0" presId="urn:microsoft.com/office/officeart/2008/layout/LinedList"/>
    <dgm:cxn modelId="{2D392C50-2AD2-4946-9612-2D0F1E8AC355}" type="presParOf" srcId="{0BBF1087-DCC6-40F5-B31A-6C337020D28A}" destId="{F0834CF1-57AF-4C7F-9109-FB701845BBB6}" srcOrd="0" destOrd="0" presId="urn:microsoft.com/office/officeart/2008/layout/LinedList"/>
    <dgm:cxn modelId="{6ED9EA13-031C-4A8E-841E-280EB5DF7C0F}" type="presParOf" srcId="{0BBF1087-DCC6-40F5-B31A-6C337020D28A}" destId="{105008EA-7BA6-4549-BEC5-D7FDAE79FCA8}" srcOrd="1" destOrd="0" presId="urn:microsoft.com/office/officeart/2008/layout/LinedList"/>
    <dgm:cxn modelId="{9EE00290-19F8-49B5-BD16-9BEF8505612B}" type="presParOf" srcId="{0BBF1087-DCC6-40F5-B31A-6C337020D28A}" destId="{289718AD-1281-4E36-A4D1-4F63840D87B1}" srcOrd="2" destOrd="0" presId="urn:microsoft.com/office/officeart/2008/layout/LinedList"/>
    <dgm:cxn modelId="{CE84C717-353D-49ED-A335-45E6E19253F4}" type="presParOf" srcId="{5D5079C5-61FF-468C-B180-B1BCC8B24680}" destId="{AA1DDD3C-AFAE-47B7-A2F1-09F31DD94E31}" srcOrd="14" destOrd="0" presId="urn:microsoft.com/office/officeart/2008/layout/LinedList"/>
    <dgm:cxn modelId="{B8C8F09C-1449-4027-857A-A4F69256DC98}" type="presParOf" srcId="{5D5079C5-61FF-468C-B180-B1BCC8B24680}" destId="{DEFBA35D-1977-467A-A5DF-6A0D48B07470}" srcOrd="15" destOrd="0" presId="urn:microsoft.com/office/officeart/2008/layout/LinedList"/>
    <dgm:cxn modelId="{2A3D7243-9A31-482A-9911-9F23B1D5C5DD}" type="presParOf" srcId="{5D5079C5-61FF-468C-B180-B1BCC8B24680}" destId="{40C2DFA5-9CE0-47C2-8C44-664BEBDFA7B5}" srcOrd="16" destOrd="0" presId="urn:microsoft.com/office/officeart/2008/layout/LinedList"/>
    <dgm:cxn modelId="{EEFBF28D-B20A-462C-8F48-5EC88F4D2F2E}" type="presParOf" srcId="{40C2DFA5-9CE0-47C2-8C44-664BEBDFA7B5}" destId="{AAA2ACF1-DACF-40C6-BE8E-7586C0110162}" srcOrd="0" destOrd="0" presId="urn:microsoft.com/office/officeart/2008/layout/LinedList"/>
    <dgm:cxn modelId="{A366F6AA-5F85-4064-8602-4CD83DA26466}" type="presParOf" srcId="{40C2DFA5-9CE0-47C2-8C44-664BEBDFA7B5}" destId="{54CACBF9-FC05-48CA-9C40-3037454259AE}" srcOrd="1" destOrd="0" presId="urn:microsoft.com/office/officeart/2008/layout/LinedList"/>
    <dgm:cxn modelId="{8DD6B791-EDA5-4D50-B056-465DD0D7FB7C}" type="presParOf" srcId="{40C2DFA5-9CE0-47C2-8C44-664BEBDFA7B5}" destId="{4E8147AC-B3DD-4782-8937-BD0829C33F04}" srcOrd="2" destOrd="0" presId="urn:microsoft.com/office/officeart/2008/layout/LinedList"/>
    <dgm:cxn modelId="{402CBA9D-2B59-45BF-84E7-B05CFA4F5F27}" type="presParOf" srcId="{5D5079C5-61FF-468C-B180-B1BCC8B24680}" destId="{2A76F9DE-0CF8-4696-866D-6AEA95A88834}" srcOrd="17" destOrd="0" presId="urn:microsoft.com/office/officeart/2008/layout/LinedList"/>
    <dgm:cxn modelId="{EDE716F6-CC8D-49DD-8D0E-644DFA647B5C}" type="presParOf" srcId="{5D5079C5-61FF-468C-B180-B1BCC8B24680}" destId="{7ABE0121-7AE3-4BA9-A2FC-68F76519DF6E}" srcOrd="18" destOrd="0" presId="urn:microsoft.com/office/officeart/2008/layout/LinedList"/>
    <dgm:cxn modelId="{4681DA74-4F15-4F66-8D1A-243693448B10}" type="presParOf" srcId="{5D5079C5-61FF-468C-B180-B1BCC8B24680}" destId="{C390C004-73D9-4022-B2E3-C071B71E27DB}" srcOrd="19" destOrd="0" presId="urn:microsoft.com/office/officeart/2008/layout/LinedList"/>
    <dgm:cxn modelId="{82F8CE19-C48B-4C8F-B99A-3FC0661D32EC}" type="presParOf" srcId="{C390C004-73D9-4022-B2E3-C071B71E27DB}" destId="{715906C0-6260-4827-AED8-8F8DBC713A44}" srcOrd="0" destOrd="0" presId="urn:microsoft.com/office/officeart/2008/layout/LinedList"/>
    <dgm:cxn modelId="{232882B9-1E52-4506-86E2-F848BA960FCB}" type="presParOf" srcId="{C390C004-73D9-4022-B2E3-C071B71E27DB}" destId="{08464675-5584-418C-BBB1-2EEDC17F7C23}" srcOrd="1" destOrd="0" presId="urn:microsoft.com/office/officeart/2008/layout/LinedList"/>
    <dgm:cxn modelId="{2B416FB1-B643-49C3-9ED4-A812F00C1D1E}" type="presParOf" srcId="{C390C004-73D9-4022-B2E3-C071B71E27DB}" destId="{4E482E53-E21D-4ADE-A424-3E0B8B5177E3}" srcOrd="2" destOrd="0" presId="urn:microsoft.com/office/officeart/2008/layout/LinedList"/>
    <dgm:cxn modelId="{5AF50F15-8023-4A50-B73D-841E0B061A9B}" type="presParOf" srcId="{5D5079C5-61FF-468C-B180-B1BCC8B24680}" destId="{0F73DF6C-2711-4660-ADFE-BD6054E447CC}" srcOrd="20" destOrd="0" presId="urn:microsoft.com/office/officeart/2008/layout/LinedList"/>
    <dgm:cxn modelId="{D431A725-8FB3-4F20-A8A6-0A73200D7D8D}" type="presParOf" srcId="{5D5079C5-61FF-468C-B180-B1BCC8B24680}" destId="{47801280-C0C4-457D-9C99-2A8D3B81DE93}" srcOrd="21" destOrd="0" presId="urn:microsoft.com/office/officeart/2008/layout/LinedList"/>
    <dgm:cxn modelId="{F9C4EDD9-8D52-46E2-A80D-96010310240B}" type="presParOf" srcId="{5D5079C5-61FF-468C-B180-B1BCC8B24680}" destId="{243B7B94-CCAD-469D-8181-72C697E90F9C}" srcOrd="22" destOrd="0" presId="urn:microsoft.com/office/officeart/2008/layout/LinedList"/>
    <dgm:cxn modelId="{15449DF3-FA8C-4E41-A9D0-7A704A01ED81}" type="presParOf" srcId="{243B7B94-CCAD-469D-8181-72C697E90F9C}" destId="{D8CD1F4C-F123-49DF-8FF7-F5110C23E9C2}" srcOrd="0" destOrd="0" presId="urn:microsoft.com/office/officeart/2008/layout/LinedList"/>
    <dgm:cxn modelId="{74BC1469-9F27-4F61-B2ED-401557C55733}" type="presParOf" srcId="{243B7B94-CCAD-469D-8181-72C697E90F9C}" destId="{26C586D6-6C0D-426F-9809-3D043EA3899A}" srcOrd="1" destOrd="0" presId="urn:microsoft.com/office/officeart/2008/layout/LinedList"/>
    <dgm:cxn modelId="{8AF2D767-2958-450A-8CD9-2BF972A00AE8}" type="presParOf" srcId="{243B7B94-CCAD-469D-8181-72C697E90F9C}" destId="{0786E721-61F6-46CE-89F7-506EF993FC3F}" srcOrd="2" destOrd="0" presId="urn:microsoft.com/office/officeart/2008/layout/LinedList"/>
    <dgm:cxn modelId="{0A1C6A61-2EDE-4A41-827A-12D62C145649}" type="presParOf" srcId="{5D5079C5-61FF-468C-B180-B1BCC8B24680}" destId="{9AB14ECA-ABC3-4FE5-9CD5-6D57F5938D02}" srcOrd="23" destOrd="0" presId="urn:microsoft.com/office/officeart/2008/layout/LinedList"/>
    <dgm:cxn modelId="{C69AE911-D9C1-4D57-9190-FF6D3AA1F3AD}" type="presParOf" srcId="{5D5079C5-61FF-468C-B180-B1BCC8B24680}" destId="{5071A5E3-FF7D-488D-AB93-F58967F8A89A}" srcOrd="24" destOrd="0" presId="urn:microsoft.com/office/officeart/2008/layout/LinedList"/>
    <dgm:cxn modelId="{732B5920-E748-4D2D-8C35-ADFE6B3EC0A6}" type="presParOf" srcId="{5D5079C5-61FF-468C-B180-B1BCC8B24680}" destId="{96BABFA2-5C3F-4D4C-991E-0C41E2A3669B}" srcOrd="25" destOrd="0" presId="urn:microsoft.com/office/officeart/2008/layout/LinedList"/>
    <dgm:cxn modelId="{BCD99854-4514-4570-938B-7E5A80A8BAD0}" type="presParOf" srcId="{96BABFA2-5C3F-4D4C-991E-0C41E2A3669B}" destId="{7E286B74-0DC8-4450-9613-7834EBDCC20A}" srcOrd="0" destOrd="0" presId="urn:microsoft.com/office/officeart/2008/layout/LinedList"/>
    <dgm:cxn modelId="{2F2F311C-F259-43A3-83FC-3F559929C273}" type="presParOf" srcId="{96BABFA2-5C3F-4D4C-991E-0C41E2A3669B}" destId="{6EF739EE-FFA6-4355-8BD5-F4A734186BA0}" srcOrd="1" destOrd="0" presId="urn:microsoft.com/office/officeart/2008/layout/LinedList"/>
    <dgm:cxn modelId="{BD135CF2-F9E7-46C4-BF90-4605BC9E2F2D}" type="presParOf" srcId="{96BABFA2-5C3F-4D4C-991E-0C41E2A3669B}" destId="{59588650-082F-407D-9B4D-9890FCE0C592}" srcOrd="2" destOrd="0" presId="urn:microsoft.com/office/officeart/2008/layout/LinedList"/>
    <dgm:cxn modelId="{DA7900B3-83D0-495C-A951-6844B09FFC59}" type="presParOf" srcId="{5D5079C5-61FF-468C-B180-B1BCC8B24680}" destId="{7A9CED7E-1D89-4049-84B9-6C4DB90E4E57}" srcOrd="26" destOrd="0" presId="urn:microsoft.com/office/officeart/2008/layout/LinedList"/>
    <dgm:cxn modelId="{06B30A09-95C3-46EA-AA3A-23CF22E6C0C8}" type="presParOf" srcId="{5D5079C5-61FF-468C-B180-B1BCC8B24680}" destId="{07F29CE7-C1B2-4F69-8E17-653969E1F626}" srcOrd="27"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5B795-A080-413A-8608-1C25AEC60A80}">
      <dsp:nvSpPr>
        <dsp:cNvPr id="0" name=""/>
        <dsp:cNvSpPr/>
      </dsp:nvSpPr>
      <dsp:spPr>
        <a:xfrm>
          <a:off x="0" y="0"/>
          <a:ext cx="91448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169B40-ECE5-41B7-BA5F-8E3429DA6EAE}">
      <dsp:nvSpPr>
        <dsp:cNvPr id="0" name=""/>
        <dsp:cNvSpPr/>
      </dsp:nvSpPr>
      <dsp:spPr>
        <a:xfrm>
          <a:off x="0" y="0"/>
          <a:ext cx="2883248" cy="5174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u="sng" kern="1200" dirty="0">
              <a:solidFill>
                <a:schemeClr val="tx2"/>
              </a:solidFill>
            </a:rPr>
            <a:t>API, Applicatifs et Architecture</a:t>
          </a:r>
        </a:p>
      </dsp:txBody>
      <dsp:txXfrm>
        <a:off x="0" y="0"/>
        <a:ext cx="2883248" cy="5174572"/>
      </dsp:txXfrm>
    </dsp:sp>
    <dsp:sp modelId="{E39DAAF7-E760-4F98-9500-F71187AE4B47}">
      <dsp:nvSpPr>
        <dsp:cNvPr id="0" name=""/>
        <dsp:cNvSpPr/>
      </dsp:nvSpPr>
      <dsp:spPr>
        <a:xfrm>
          <a:off x="3000595" y="27224"/>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SpringBoot</a:t>
          </a:r>
          <a:r>
            <a:rPr lang="fr-FR" sz="1800" b="1" kern="1200" dirty="0">
              <a:solidFill>
                <a:schemeClr val="tx2"/>
              </a:solidFill>
            </a:rPr>
            <a:t> 2.4.9</a:t>
          </a:r>
        </a:p>
      </dsp:txBody>
      <dsp:txXfrm>
        <a:off x="3000595" y="27224"/>
        <a:ext cx="6141130" cy="544492"/>
      </dsp:txXfrm>
    </dsp:sp>
    <dsp:sp modelId="{03985DF9-09EE-420C-80CE-B84217CD99DB}">
      <dsp:nvSpPr>
        <dsp:cNvPr id="0" name=""/>
        <dsp:cNvSpPr/>
      </dsp:nvSpPr>
      <dsp:spPr>
        <a:xfrm>
          <a:off x="2883248" y="571716"/>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692EF-7316-4FBC-8321-6EFECDA0D9DD}">
      <dsp:nvSpPr>
        <dsp:cNvPr id="0" name=""/>
        <dsp:cNvSpPr/>
      </dsp:nvSpPr>
      <dsp:spPr>
        <a:xfrm>
          <a:off x="3000595" y="598941"/>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Java 8</a:t>
          </a:r>
          <a:endParaRPr lang="fr-FR" sz="1600" kern="1200" dirty="0"/>
        </a:p>
      </dsp:txBody>
      <dsp:txXfrm>
        <a:off x="3000595" y="598941"/>
        <a:ext cx="6141130" cy="544492"/>
      </dsp:txXfrm>
    </dsp:sp>
    <dsp:sp modelId="{AB2AB4EC-389F-42C3-AFD8-25F7C6897BE2}">
      <dsp:nvSpPr>
        <dsp:cNvPr id="0" name=""/>
        <dsp:cNvSpPr/>
      </dsp:nvSpPr>
      <dsp:spPr>
        <a:xfrm>
          <a:off x="2883248" y="1143433"/>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96BA-2E5F-488D-B196-49933EC8629E}">
      <dsp:nvSpPr>
        <dsp:cNvPr id="0" name=""/>
        <dsp:cNvSpPr/>
      </dsp:nvSpPr>
      <dsp:spPr>
        <a:xfrm>
          <a:off x="3000595" y="1170658"/>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Maven</a:t>
          </a:r>
          <a:endParaRPr lang="fr-FR" sz="2000" kern="1200" dirty="0"/>
        </a:p>
      </dsp:txBody>
      <dsp:txXfrm>
        <a:off x="3000595" y="1170658"/>
        <a:ext cx="6141130" cy="544492"/>
      </dsp:txXfrm>
    </dsp:sp>
    <dsp:sp modelId="{AC53C367-BABC-4B44-B682-9E1A4587720F}">
      <dsp:nvSpPr>
        <dsp:cNvPr id="0" name=""/>
        <dsp:cNvSpPr/>
      </dsp:nvSpPr>
      <dsp:spPr>
        <a:xfrm>
          <a:off x="2883248" y="1715150"/>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8EBFB-4A98-4CE1-B8C0-007E1B9DB61C}">
      <dsp:nvSpPr>
        <dsp:cNvPr id="0" name=""/>
        <dsp:cNvSpPr/>
      </dsp:nvSpPr>
      <dsp:spPr>
        <a:xfrm>
          <a:off x="3000595" y="1742375"/>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ElasticSearch</a:t>
          </a:r>
          <a:r>
            <a:rPr lang="fr-FR" sz="1600" b="1" kern="1200" dirty="0">
              <a:solidFill>
                <a:schemeClr val="tx2"/>
              </a:solidFill>
            </a:rPr>
            <a:t> 7,12</a:t>
          </a:r>
          <a:endParaRPr lang="fr-FR" sz="1600" kern="1200" dirty="0"/>
        </a:p>
      </dsp:txBody>
      <dsp:txXfrm>
        <a:off x="3000595" y="1742375"/>
        <a:ext cx="6141130" cy="544492"/>
      </dsp:txXfrm>
    </dsp:sp>
    <dsp:sp modelId="{A697DED2-2DA0-478B-B84F-0ADF7AE4F898}">
      <dsp:nvSpPr>
        <dsp:cNvPr id="0" name=""/>
        <dsp:cNvSpPr/>
      </dsp:nvSpPr>
      <dsp:spPr>
        <a:xfrm>
          <a:off x="2883248" y="2286867"/>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008EA-7BA6-4549-BEC5-D7FDAE79FCA8}">
      <dsp:nvSpPr>
        <dsp:cNvPr id="0" name=""/>
        <dsp:cNvSpPr/>
      </dsp:nvSpPr>
      <dsp:spPr>
        <a:xfrm>
          <a:off x="3000595" y="2314092"/>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err="1">
              <a:solidFill>
                <a:schemeClr val="tx2"/>
              </a:solidFill>
            </a:rPr>
            <a:t>Angular</a:t>
          </a:r>
          <a:r>
            <a:rPr lang="fr-FR" sz="1600" b="1" kern="1200" dirty="0">
              <a:solidFill>
                <a:schemeClr val="tx2"/>
              </a:solidFill>
            </a:rPr>
            <a:t> 11</a:t>
          </a:r>
          <a:endParaRPr lang="fr-FR" sz="1600" kern="1200" dirty="0"/>
        </a:p>
      </dsp:txBody>
      <dsp:txXfrm>
        <a:off x="3000595" y="2314092"/>
        <a:ext cx="6141130" cy="544492"/>
      </dsp:txXfrm>
    </dsp:sp>
    <dsp:sp modelId="{AA1DDD3C-AFAE-47B7-A2F1-09F31DD94E31}">
      <dsp:nvSpPr>
        <dsp:cNvPr id="0" name=""/>
        <dsp:cNvSpPr/>
      </dsp:nvSpPr>
      <dsp:spPr>
        <a:xfrm>
          <a:off x="2883248" y="2858584"/>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ACBF9-FC05-48CA-9C40-3037454259AE}">
      <dsp:nvSpPr>
        <dsp:cNvPr id="0" name=""/>
        <dsp:cNvSpPr/>
      </dsp:nvSpPr>
      <dsp:spPr>
        <a:xfrm>
          <a:off x="3000595" y="2885809"/>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Bootstrap</a:t>
          </a:r>
          <a:endParaRPr lang="fr-FR" sz="1600" kern="1200" dirty="0"/>
        </a:p>
      </dsp:txBody>
      <dsp:txXfrm>
        <a:off x="3000595" y="2885809"/>
        <a:ext cx="6141130" cy="544492"/>
      </dsp:txXfrm>
    </dsp:sp>
    <dsp:sp modelId="{2A76F9DE-0CF8-4696-866D-6AEA95A88834}">
      <dsp:nvSpPr>
        <dsp:cNvPr id="0" name=""/>
        <dsp:cNvSpPr/>
      </dsp:nvSpPr>
      <dsp:spPr>
        <a:xfrm>
          <a:off x="2883248" y="3430301"/>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64675-5584-418C-BBB1-2EEDC17F7C23}">
      <dsp:nvSpPr>
        <dsp:cNvPr id="0" name=""/>
        <dsp:cNvSpPr/>
      </dsp:nvSpPr>
      <dsp:spPr>
        <a:xfrm>
          <a:off x="3000595" y="3457526"/>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PostgreSQL 10</a:t>
          </a:r>
          <a:endParaRPr lang="fr-FR" sz="1600" kern="1200" dirty="0"/>
        </a:p>
      </dsp:txBody>
      <dsp:txXfrm>
        <a:off x="3000595" y="3457526"/>
        <a:ext cx="6141130" cy="544492"/>
      </dsp:txXfrm>
    </dsp:sp>
    <dsp:sp modelId="{0F73DF6C-2711-4660-ADFE-BD6054E447CC}">
      <dsp:nvSpPr>
        <dsp:cNvPr id="0" name=""/>
        <dsp:cNvSpPr/>
      </dsp:nvSpPr>
      <dsp:spPr>
        <a:xfrm>
          <a:off x="2883248" y="4002018"/>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C586D6-6C0D-426F-9809-3D043EA3899A}">
      <dsp:nvSpPr>
        <dsp:cNvPr id="0" name=""/>
        <dsp:cNvSpPr/>
      </dsp:nvSpPr>
      <dsp:spPr>
        <a:xfrm>
          <a:off x="3000595" y="4029243"/>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Docker</a:t>
          </a:r>
          <a:endParaRPr lang="fr-FR" sz="2200" kern="1200" dirty="0"/>
        </a:p>
      </dsp:txBody>
      <dsp:txXfrm>
        <a:off x="3000595" y="4029243"/>
        <a:ext cx="6141130" cy="544492"/>
      </dsp:txXfrm>
    </dsp:sp>
    <dsp:sp modelId="{9AB14ECA-ABC3-4FE5-9CD5-6D57F5938D02}">
      <dsp:nvSpPr>
        <dsp:cNvPr id="0" name=""/>
        <dsp:cNvSpPr/>
      </dsp:nvSpPr>
      <dsp:spPr>
        <a:xfrm>
          <a:off x="2883248" y="4573735"/>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F739EE-FFA6-4355-8BD5-F4A734186BA0}">
      <dsp:nvSpPr>
        <dsp:cNvPr id="0" name=""/>
        <dsp:cNvSpPr/>
      </dsp:nvSpPr>
      <dsp:spPr>
        <a:xfrm>
          <a:off x="3000595" y="4600960"/>
          <a:ext cx="6141130" cy="544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FR" sz="1600" b="1" kern="1200" dirty="0">
              <a:solidFill>
                <a:schemeClr val="tx2"/>
              </a:solidFill>
            </a:rPr>
            <a:t>Azure </a:t>
          </a:r>
          <a:r>
            <a:rPr lang="fr-FR" sz="1600" b="1" kern="1200" dirty="0" err="1">
              <a:solidFill>
                <a:schemeClr val="tx2"/>
              </a:solidFill>
            </a:rPr>
            <a:t>Kubernetes</a:t>
          </a:r>
          <a:r>
            <a:rPr lang="fr-FR" sz="1600" b="1" kern="1200" dirty="0">
              <a:solidFill>
                <a:schemeClr val="tx2"/>
              </a:solidFill>
            </a:rPr>
            <a:t> Services </a:t>
          </a:r>
          <a:endParaRPr lang="fr-FR" sz="1600" kern="1200" dirty="0"/>
        </a:p>
      </dsp:txBody>
      <dsp:txXfrm>
        <a:off x="3000595" y="4600960"/>
        <a:ext cx="6141130" cy="544492"/>
      </dsp:txXfrm>
    </dsp:sp>
    <dsp:sp modelId="{7A9CED7E-1D89-4049-84B9-6C4DB90E4E57}">
      <dsp:nvSpPr>
        <dsp:cNvPr id="0" name=""/>
        <dsp:cNvSpPr/>
      </dsp:nvSpPr>
      <dsp:spPr>
        <a:xfrm>
          <a:off x="2883248" y="5145452"/>
          <a:ext cx="6258476"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28F78C6-9F51-47F5-9D9F-4B899C5520F0}" type="datetimeFigureOut">
              <a:rPr lang="fr-FR" smtClean="0"/>
              <a:t>21/08/2022</a:t>
            </a:fld>
            <a:endParaRPr lang="fr-FR"/>
          </a:p>
        </p:txBody>
      </p:sp>
      <p:sp>
        <p:nvSpPr>
          <p:cNvPr id="4" name="Espace réservé de l'image des diapositives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BFB1C8A-FDB3-44D0-B39F-2BBFCAFF8782}" type="slidenum">
              <a:rPr lang="fr-FR" smtClean="0"/>
              <a:t>‹N°›</a:t>
            </a:fld>
            <a:endParaRPr lang="fr-FR"/>
          </a:p>
        </p:txBody>
      </p:sp>
    </p:spTree>
    <p:extLst>
      <p:ext uri="{BB962C8B-B14F-4D97-AF65-F5344CB8AC3E}">
        <p14:creationId xmlns:p14="http://schemas.microsoft.com/office/powerpoint/2010/main" val="2733979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4</a:t>
            </a:fld>
            <a:endParaRPr lang="fr-FR"/>
          </a:p>
        </p:txBody>
      </p:sp>
    </p:spTree>
    <p:extLst>
      <p:ext uri="{BB962C8B-B14F-4D97-AF65-F5344CB8AC3E}">
        <p14:creationId xmlns:p14="http://schemas.microsoft.com/office/powerpoint/2010/main" val="115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18</a:t>
            </a:fld>
            <a:endParaRPr lang="fr-FR"/>
          </a:p>
        </p:txBody>
      </p:sp>
    </p:spTree>
    <p:extLst>
      <p:ext uri="{BB962C8B-B14F-4D97-AF65-F5344CB8AC3E}">
        <p14:creationId xmlns:p14="http://schemas.microsoft.com/office/powerpoint/2010/main" val="3583428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69</a:t>
            </a:fld>
            <a:endParaRPr lang="fr-FR"/>
          </a:p>
        </p:txBody>
      </p:sp>
    </p:spTree>
    <p:extLst>
      <p:ext uri="{BB962C8B-B14F-4D97-AF65-F5344CB8AC3E}">
        <p14:creationId xmlns:p14="http://schemas.microsoft.com/office/powerpoint/2010/main" val="1710295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0</a:t>
            </a:fld>
            <a:endParaRPr lang="fr-FR"/>
          </a:p>
        </p:txBody>
      </p:sp>
    </p:spTree>
    <p:extLst>
      <p:ext uri="{BB962C8B-B14F-4D97-AF65-F5344CB8AC3E}">
        <p14:creationId xmlns:p14="http://schemas.microsoft.com/office/powerpoint/2010/main" val="494832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BFB1C8A-FDB3-44D0-B39F-2BBFCAFF8782}" type="slidenum">
              <a:rPr lang="fr-FR" smtClean="0"/>
              <a:t>71</a:t>
            </a:fld>
            <a:endParaRPr lang="fr-FR"/>
          </a:p>
        </p:txBody>
      </p:sp>
    </p:spTree>
    <p:extLst>
      <p:ext uri="{BB962C8B-B14F-4D97-AF65-F5344CB8AC3E}">
        <p14:creationId xmlns:p14="http://schemas.microsoft.com/office/powerpoint/2010/main" val="1752293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svg"/><Relationship Id="rId7" Type="http://schemas.openxmlformats.org/officeDocument/2006/relationships/image" Target="../media/image46.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re">
    <p:spTree>
      <p:nvGrpSpPr>
        <p:cNvPr id="1" name=""/>
        <p:cNvGrpSpPr/>
        <p:nvPr/>
      </p:nvGrpSpPr>
      <p:grpSpPr>
        <a:xfrm>
          <a:off x="0" y="0"/>
          <a:ext cx="0" cy="0"/>
          <a:chOff x="0" y="0"/>
          <a:chExt cx="0" cy="0"/>
        </a:xfrm>
      </p:grpSpPr>
      <p:sp>
        <p:nvSpPr>
          <p:cNvPr id="2" name="Title 1"/>
          <p:cNvSpPr>
            <a:spLocks noGrp="1"/>
          </p:cNvSpPr>
          <p:nvPr>
            <p:ph type="ctrTitle"/>
          </p:nvPr>
        </p:nvSpPr>
        <p:spPr>
          <a:xfrm>
            <a:off x="684688" y="1271557"/>
            <a:ext cx="8536636" cy="1631033"/>
          </a:xfrm>
        </p:spPr>
        <p:txBody>
          <a:bodyPr anchor="b">
            <a:normAutofit/>
          </a:bodyPr>
          <a:lstStyle>
            <a:lvl1pPr algn="ctr">
              <a:defRPr sz="4000"/>
            </a:lvl1pPr>
          </a:lstStyle>
          <a:p>
            <a:r>
              <a:rPr lang="fr-FR"/>
              <a:t>Modifiez le style du titre</a:t>
            </a:r>
            <a:endParaRPr lang="en-US"/>
          </a:p>
        </p:txBody>
      </p:sp>
      <p:sp>
        <p:nvSpPr>
          <p:cNvPr id="3" name="Subtitle 2"/>
          <p:cNvSpPr>
            <a:spLocks noGrp="1"/>
          </p:cNvSpPr>
          <p:nvPr>
            <p:ph type="subTitle" idx="1"/>
          </p:nvPr>
        </p:nvSpPr>
        <p:spPr>
          <a:xfrm>
            <a:off x="684688" y="3226182"/>
            <a:ext cx="8536636" cy="1341488"/>
          </a:xfrm>
        </p:spPr>
        <p:txBody>
          <a:bodyPr/>
          <a:lstStyle>
            <a:lvl1pPr marL="0" indent="0" algn="ctr">
              <a:lnSpc>
                <a:spcPct val="90000"/>
              </a:lnSpc>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cxnSp>
        <p:nvCxnSpPr>
          <p:cNvPr id="8" name="Straight Connector 12"/>
          <p:cNvCxnSpPr/>
          <p:nvPr userDrawn="1"/>
        </p:nvCxnSpPr>
        <p:spPr>
          <a:xfrm>
            <a:off x="4039681" y="3069330"/>
            <a:ext cx="1824429" cy="0"/>
          </a:xfrm>
          <a:prstGeom prst="line">
            <a:avLst/>
          </a:prstGeom>
          <a:ln w="19050" cap="rnd" cmpd="sng">
            <a:solidFill>
              <a:schemeClr val="accent1"/>
            </a:solidFill>
            <a:round/>
          </a:ln>
          <a:effectLst/>
        </p:spPr>
        <p:style>
          <a:lnRef idx="2">
            <a:schemeClr val="accent1"/>
          </a:lnRef>
          <a:fillRef idx="0">
            <a:schemeClr val="accent1"/>
          </a:fillRef>
          <a:effectRef idx="1">
            <a:schemeClr val="accent1"/>
          </a:effectRef>
          <a:fontRef idx="minor">
            <a:schemeClr val="tx1"/>
          </a:fontRef>
        </p:style>
      </p:cxnSp>
      <p:sp>
        <p:nvSpPr>
          <p:cNvPr id="18" name="TextBox 11"/>
          <p:cNvSpPr txBox="1"/>
          <p:nvPr userDrawn="1"/>
        </p:nvSpPr>
        <p:spPr>
          <a:xfrm>
            <a:off x="0" y="6494481"/>
            <a:ext cx="9906000" cy="36352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5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4" name="Date Placeholder 3"/>
          <p:cNvSpPr>
            <a:spLocks noGrp="1"/>
          </p:cNvSpPr>
          <p:nvPr>
            <p:ph type="dt" sz="half" idx="10"/>
          </p:nvPr>
        </p:nvSpPr>
        <p:spPr>
          <a:xfrm>
            <a:off x="139047" y="6559609"/>
            <a:ext cx="3458496" cy="230900"/>
          </a:xfrm>
        </p:spPr>
        <p:txBody>
          <a:bodyPr lIns="0" tIns="0" rIns="0" bIns="0"/>
          <a:lstStyle>
            <a:lvl1pPr algn="l">
              <a:defRPr>
                <a:solidFill>
                  <a:schemeClr val="bg1"/>
                </a:solidFill>
              </a:defRPr>
            </a:lvl1pPr>
          </a:lstStyle>
          <a:p>
            <a:endParaRPr lang="fr-F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90661" y="5798340"/>
            <a:ext cx="784195" cy="552923"/>
          </a:xfrm>
          <a:prstGeom prst="rect">
            <a:avLst/>
          </a:prstGeom>
        </p:spPr>
      </p:pic>
    </p:spTree>
    <p:extLst>
      <p:ext uri="{BB962C8B-B14F-4D97-AF65-F5344CB8AC3E}">
        <p14:creationId xmlns:p14="http://schemas.microsoft.com/office/powerpoint/2010/main" val="3008593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e + image 4">
    <p:spTree>
      <p:nvGrpSpPr>
        <p:cNvPr id="1" name=""/>
        <p:cNvGrpSpPr/>
        <p:nvPr/>
      </p:nvGrpSpPr>
      <p:grpSpPr>
        <a:xfrm>
          <a:off x="0" y="0"/>
          <a:ext cx="0" cy="0"/>
          <a:chOff x="0" y="0"/>
          <a:chExt cx="0" cy="0"/>
        </a:xfrm>
      </p:grpSpPr>
      <p:pic>
        <p:nvPicPr>
          <p:cNvPr id="14"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55419"/>
            <a:ext cx="9905999" cy="1802582"/>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903018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568821" y="3581017"/>
            <a:ext cx="8768358"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Habilitations et </a:t>
            </a:r>
            <a:r>
              <a:rPr lang="en-US" noProof="0" dirty="0" err="1"/>
              <a:t>Confidentialité</a:t>
            </a:r>
            <a:r>
              <a:rPr lang="en-US" noProof="0" dirty="0"/>
              <a:t> IKOS</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e + image 5">
    <p:spTree>
      <p:nvGrpSpPr>
        <p:cNvPr id="1" name=""/>
        <p:cNvGrpSpPr/>
        <p:nvPr/>
      </p:nvGrpSpPr>
      <p:grpSpPr>
        <a:xfrm>
          <a:off x="0" y="0"/>
          <a:ext cx="0" cy="0"/>
          <a:chOff x="0" y="0"/>
          <a:chExt cx="0" cy="0"/>
        </a:xfrm>
      </p:grpSpPr>
      <p:pic>
        <p:nvPicPr>
          <p:cNvPr id="11" name="Picture 9" descr="iStock_000006458257XSmal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067300"/>
            <a:ext cx="9906000" cy="1866063"/>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0857855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co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248355"/>
            <a:ext cx="4210050" cy="523026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248355"/>
            <a:ext cx="4210050" cy="500172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7487816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err="1"/>
              <a:t>email@inetum.world</a:t>
            </a:r>
            <a:endParaRPr lang="en-US" dirty="0"/>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40946951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dirty="0">
                <a:solidFill>
                  <a:srgbClr val="EF4641"/>
                </a:solidFill>
                <a:latin typeface="Verdana" panose="020B0604030504040204" pitchFamily="34" charset="0"/>
                <a:cs typeface="Poppins ExtraBold"/>
              </a:rPr>
              <a:t>inetum.world</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3857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404537761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9963389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s avec tit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2423" y="1741839"/>
            <a:ext cx="4210050" cy="473678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26636" y="1741839"/>
            <a:ext cx="4210050" cy="450823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p:nvPr>
        </p:nvSpPr>
        <p:spPr>
          <a:xfrm>
            <a:off x="619432" y="1157826"/>
            <a:ext cx="4215118"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9" name="Text Placeholder 4"/>
          <p:cNvSpPr>
            <a:spLocks noGrp="1"/>
          </p:cNvSpPr>
          <p:nvPr>
            <p:ph type="body" sz="quarter" idx="3"/>
          </p:nvPr>
        </p:nvSpPr>
        <p:spPr>
          <a:xfrm>
            <a:off x="5026636" y="1157826"/>
            <a:ext cx="4216952" cy="532318"/>
          </a:xfrm>
        </p:spPr>
        <p:txBody>
          <a:bodyPr anchor="b">
            <a:noAutofit/>
          </a:bodyPr>
          <a:lstStyle>
            <a:lvl1pPr marL="0" indent="0">
              <a:lnSpc>
                <a:spcPct val="800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Tree>
    <p:extLst>
      <p:ext uri="{BB962C8B-B14F-4D97-AF65-F5344CB8AC3E}">
        <p14:creationId xmlns:p14="http://schemas.microsoft.com/office/powerpoint/2010/main" val="14231304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Footer Placeholder 4">
            <a:extLst>
              <a:ext uri="{FF2B5EF4-FFF2-40B4-BE49-F238E27FC236}">
                <a16:creationId xmlns:a16="http://schemas.microsoft.com/office/drawing/2014/main" id="{9582E72F-5299-445D-AA7E-96F5B70AF5B2}"/>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5720065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a:t>Heading</a:t>
            </a:r>
          </a:p>
        </p:txBody>
      </p:sp>
      <p:sp>
        <p:nvSpPr>
          <p:cNvPr id="10" name="Footer Placeholder 4">
            <a:extLst>
              <a:ext uri="{FF2B5EF4-FFF2-40B4-BE49-F238E27FC236}">
                <a16:creationId xmlns:a16="http://schemas.microsoft.com/office/drawing/2014/main" id="{CDB9ADED-DF4F-4FC6-A076-1C2DFF1798B5}"/>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7070403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1600"/>
            <a:ext cx="8694148" cy="1422106"/>
          </a:xfrm>
        </p:spPr>
        <p:txBody>
          <a:bodyPr wrap="square">
            <a:spAutoFit/>
          </a:bodyPr>
          <a:lstStyle>
            <a:lvl1pPr>
              <a:defRPr/>
            </a:lvl1pPr>
            <a:lvl2pPr>
              <a:defRPr/>
            </a:lvl2pPr>
            <a:lvl3pPr>
              <a:defRPr/>
            </a:lvl3pPr>
            <a:lvl4pPr>
              <a:defRPr/>
            </a:lvl4pPr>
            <a:lvl5pPr>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1E7B67AD-CC0A-4B52-BABC-C439F887D42F}"/>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64074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5699" y="1379943"/>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6" name="Footer Placeholder 4">
            <a:extLst>
              <a:ext uri="{FF2B5EF4-FFF2-40B4-BE49-F238E27FC236}">
                <a16:creationId xmlns:a16="http://schemas.microsoft.com/office/drawing/2014/main" id="{E1F0E40C-C0B6-4FE3-BCC5-C2B48E5D6C4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7" name="Holder 2">
            <a:extLst>
              <a:ext uri="{FF2B5EF4-FFF2-40B4-BE49-F238E27FC236}">
                <a16:creationId xmlns:a16="http://schemas.microsoft.com/office/drawing/2014/main" id="{D79436BD-1BEC-4D7D-B562-AB3BD6287996}"/>
              </a:ext>
            </a:extLst>
          </p:cNvPr>
          <p:cNvSpPr>
            <a:spLocks noGrp="1"/>
          </p:cNvSpPr>
          <p:nvPr>
            <p:ph type="ctrTitle" hasCustomPrompt="1"/>
          </p:nvPr>
        </p:nvSpPr>
        <p:spPr>
          <a:xfrm>
            <a:off x="545699" y="382623"/>
            <a:ext cx="7561065" cy="352197"/>
          </a:xfrm>
          <a:prstGeom prst="rect">
            <a:avLst/>
          </a:prstGeom>
        </p:spPr>
        <p:txBody>
          <a:bodyPr wrap="square" lIns="0" tIns="14400" rIns="0" bIns="0">
            <a:spAutoFit/>
          </a:bodyPr>
          <a:lstStyle>
            <a:lvl1pPr algn="l">
              <a:defRPr sz="2194" b="1">
                <a:solidFill>
                  <a:schemeClr val="accent2"/>
                </a:solidFill>
              </a:defRPr>
            </a:lvl1pPr>
          </a:lstStyle>
          <a:p>
            <a:r>
              <a:rPr lang="en-US" noProof="0"/>
              <a:t>Slide title</a:t>
            </a:r>
          </a:p>
        </p:txBody>
      </p:sp>
    </p:spTree>
    <p:extLst>
      <p:ext uri="{BB962C8B-B14F-4D97-AF65-F5344CB8AC3E}">
        <p14:creationId xmlns:p14="http://schemas.microsoft.com/office/powerpoint/2010/main" val="20557596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a:t>Insert </a:t>
            </a:r>
            <a:r>
              <a:rPr lang="fr-FR" err="1"/>
              <a:t>picture</a:t>
            </a:r>
            <a:endParaRPr lang="en-US"/>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a:t>First name Last name</a:t>
            </a:r>
          </a:p>
          <a:p>
            <a:pPr lvl="1"/>
            <a:r>
              <a:rPr lang="en-US" err="1"/>
              <a:t>email@inetum.world</a:t>
            </a:r>
            <a:endParaRPr lang="en-US"/>
          </a:p>
          <a:p>
            <a:pPr lvl="2"/>
            <a:r>
              <a:rPr lang="en-US"/>
              <a:t>Social network</a:t>
            </a:r>
          </a:p>
        </p:txBody>
      </p:sp>
      <p:sp>
        <p:nvSpPr>
          <p:cNvPr id="34" name="Footer Placeholder 4">
            <a:extLst>
              <a:ext uri="{FF2B5EF4-FFF2-40B4-BE49-F238E27FC236}">
                <a16:creationId xmlns:a16="http://schemas.microsoft.com/office/drawing/2014/main" id="{766E12D7-53BE-4246-8517-2DA21308F6BD}"/>
              </a:ext>
            </a:extLst>
          </p:cNvPr>
          <p:cNvSpPr>
            <a:spLocks noGrp="1"/>
          </p:cNvSpPr>
          <p:nvPr>
            <p:ph type="ftr" sz="quarter" idx="3"/>
          </p:nvPr>
        </p:nvSpPr>
        <p:spPr>
          <a:xfrm>
            <a:off x="5726906" y="6410308"/>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40161076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ark End">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2" name="object 6">
            <a:extLst>
              <a:ext uri="{FF2B5EF4-FFF2-40B4-BE49-F238E27FC236}">
                <a16:creationId xmlns:a16="http://schemas.microsoft.com/office/drawing/2014/main" id="{3F569564-E659-414C-A3DD-5CDA9CE69D1E}"/>
              </a:ext>
            </a:extLst>
          </p:cNvPr>
          <p:cNvSpPr/>
          <p:nvPr userDrawn="1"/>
        </p:nvSpPr>
        <p:spPr>
          <a:xfrm>
            <a:off x="7677150" y="2743199"/>
            <a:ext cx="1114425" cy="1371600"/>
          </a:xfrm>
          <a:custGeom>
            <a:avLst/>
            <a:gdLst/>
            <a:ahLst/>
            <a:cxnLst/>
            <a:rect l="l" t="t" r="r" b="b"/>
            <a:pathLst>
              <a:path w="1828800" h="1828800">
                <a:moveTo>
                  <a:pt x="1828800" y="0"/>
                </a:moveTo>
                <a:lnTo>
                  <a:pt x="914400" y="0"/>
                </a:lnTo>
                <a:lnTo>
                  <a:pt x="914400" y="914400"/>
                </a:lnTo>
                <a:lnTo>
                  <a:pt x="0" y="914400"/>
                </a:lnTo>
                <a:lnTo>
                  <a:pt x="0" y="18288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768923" y="3895726"/>
            <a:ext cx="1369814" cy="214153"/>
          </a:xfrm>
          <a:prstGeom prst="rect">
            <a:avLst/>
          </a:prstGeom>
        </p:spPr>
        <p:txBody>
          <a:bodyPr vert="horz" wrap="square" lIns="0" tIns="7739" rIns="0" bIns="0" rtlCol="0">
            <a:spAutoFit/>
          </a:bodyPr>
          <a:lstStyle/>
          <a:p>
            <a:pPr marL="7739">
              <a:lnSpc>
                <a:spcPct val="100000"/>
              </a:lnSpc>
              <a:spcBef>
                <a:spcPts val="61"/>
              </a:spcBef>
            </a:pPr>
            <a:r>
              <a:rPr sz="1341" b="1">
                <a:solidFill>
                  <a:srgbClr val="EF4641"/>
                </a:solidFill>
                <a:latin typeface="Verdana" panose="020B0604030504040204" pitchFamily="34" charset="0"/>
                <a:cs typeface="Poppins ExtraBold"/>
              </a:rPr>
              <a:t>inetum.world</a:t>
            </a:r>
            <a:endParaRPr sz="1341">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a:solidFill>
                  <a:srgbClr val="00AC9C"/>
                </a:solidFill>
                <a:latin typeface="Verdana" panose="020B0604030504040204" pitchFamily="34" charset="0"/>
                <a:cs typeface="Poppins"/>
              </a:rPr>
              <a:t>FRANCE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PAIN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PORTUGAL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BELGIUM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SWITZERLAND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LUXEMBOURG </a:t>
            </a:r>
            <a:r>
              <a:rPr sz="853">
                <a:solidFill>
                  <a:srgbClr val="00AC9C"/>
                </a:solidFill>
                <a:latin typeface="Verdana" panose="020B0604030504040204" pitchFamily="34" charset="0"/>
                <a:cs typeface="Poppins"/>
              </a:rPr>
              <a:t>| </a:t>
            </a:r>
            <a:r>
              <a:rPr sz="853" spc="6">
                <a:solidFill>
                  <a:srgbClr val="00AC9C"/>
                </a:solidFill>
                <a:latin typeface="Verdana" panose="020B0604030504040204" pitchFamily="34" charset="0"/>
                <a:cs typeface="Poppins"/>
              </a:rPr>
              <a:t>ENG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POLAND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ROMAN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OROCCO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TUNIS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ENEGAL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ÔTE </a:t>
            </a:r>
            <a:r>
              <a:rPr sz="853" spc="15">
                <a:solidFill>
                  <a:srgbClr val="00AC9C"/>
                </a:solidFill>
                <a:latin typeface="Verdana" panose="020B0604030504040204" pitchFamily="34" charset="0"/>
                <a:cs typeface="Poppins"/>
              </a:rPr>
              <a:t>D’IVOIRE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NGOL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AMEROON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US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BRAZIL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COLOMBI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MEXICO </a:t>
            </a:r>
            <a:r>
              <a:rPr sz="853">
                <a:solidFill>
                  <a:srgbClr val="00AC9C"/>
                </a:solidFill>
                <a:latin typeface="Verdana" panose="020B0604030504040204" pitchFamily="34" charset="0"/>
                <a:cs typeface="Poppins"/>
              </a:rPr>
              <a:t>| </a:t>
            </a:r>
            <a:r>
              <a:rPr sz="853" spc="9">
                <a:solidFill>
                  <a:srgbClr val="00AC9C"/>
                </a:solidFill>
                <a:latin typeface="Verdana" panose="020B0604030504040204" pitchFamily="34" charset="0"/>
                <a:cs typeface="Poppins"/>
              </a:rPr>
              <a:t>RP OF </a:t>
            </a:r>
            <a:r>
              <a:rPr sz="853" spc="15">
                <a:solidFill>
                  <a:srgbClr val="00AC9C"/>
                </a:solidFill>
                <a:latin typeface="Verdana" panose="020B0604030504040204" pitchFamily="34" charset="0"/>
                <a:cs typeface="Poppins"/>
              </a:rPr>
              <a:t>PANAMA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PERU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HILI </a:t>
            </a:r>
            <a:r>
              <a:rPr sz="853">
                <a:solidFill>
                  <a:srgbClr val="00AC9C"/>
                </a:solidFill>
                <a:latin typeface="Verdana" panose="020B0604030504040204" pitchFamily="34" charset="0"/>
                <a:cs typeface="Poppins"/>
              </a:rPr>
              <a:t>|  </a:t>
            </a:r>
            <a:r>
              <a:rPr sz="853" spc="12">
                <a:solidFill>
                  <a:srgbClr val="00AC9C"/>
                </a:solidFill>
                <a:latin typeface="Verdana" panose="020B0604030504040204" pitchFamily="34" charset="0"/>
                <a:cs typeface="Poppins"/>
              </a:rPr>
              <a:t>COSTA RIC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DOMINICAN REPUBLIC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ARGENTINA </a:t>
            </a:r>
            <a:r>
              <a:rPr sz="853">
                <a:solidFill>
                  <a:srgbClr val="00AC9C"/>
                </a:solidFill>
                <a:latin typeface="Verdana" panose="020B0604030504040204" pitchFamily="34" charset="0"/>
                <a:cs typeface="Poppins"/>
              </a:rPr>
              <a:t>| </a:t>
            </a:r>
            <a:r>
              <a:rPr sz="853" spc="15">
                <a:solidFill>
                  <a:srgbClr val="00AC9C"/>
                </a:solidFill>
                <a:latin typeface="Verdana" panose="020B0604030504040204" pitchFamily="34" charset="0"/>
                <a:cs typeface="Poppins"/>
              </a:rPr>
              <a:t>SINGAPORE </a:t>
            </a:r>
            <a:r>
              <a:rPr sz="853">
                <a:solidFill>
                  <a:srgbClr val="00AC9C"/>
                </a:solidFill>
                <a:latin typeface="Verdana" panose="020B0604030504040204" pitchFamily="34" charset="0"/>
                <a:cs typeface="Poppins"/>
              </a:rPr>
              <a:t>|</a:t>
            </a:r>
            <a:r>
              <a:rPr sz="853" spc="61">
                <a:solidFill>
                  <a:srgbClr val="00AC9C"/>
                </a:solidFill>
                <a:latin typeface="Verdana" panose="020B0604030504040204" pitchFamily="34" charset="0"/>
                <a:cs typeface="Poppins"/>
              </a:rPr>
              <a:t> </a:t>
            </a:r>
            <a:r>
              <a:rPr sz="853" spc="18">
                <a:solidFill>
                  <a:srgbClr val="00AC9C"/>
                </a:solidFill>
                <a:latin typeface="Verdana" panose="020B0604030504040204" pitchFamily="34" charset="0"/>
                <a:cs typeface="Poppins"/>
              </a:rPr>
              <a:t>UAE</a:t>
            </a:r>
            <a:endParaRPr sz="853">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Tree>
    <p:extLst>
      <p:ext uri="{BB962C8B-B14F-4D97-AF65-F5344CB8AC3E}">
        <p14:creationId xmlns:p14="http://schemas.microsoft.com/office/powerpoint/2010/main" val="37348805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6471920" y="0"/>
            <a:ext cx="3434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0" name="Footer Placeholder 4">
            <a:extLst>
              <a:ext uri="{FF2B5EF4-FFF2-40B4-BE49-F238E27FC236}">
                <a16:creationId xmlns:a16="http://schemas.microsoft.com/office/drawing/2014/main" id="{55EBFDBC-1DAA-4DBB-831E-149F6CFA386E}"/>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
        <p:nvSpPr>
          <p:cNvPr id="16" name="TextBox 16">
            <a:extLst>
              <a:ext uri="{FF2B5EF4-FFF2-40B4-BE49-F238E27FC236}">
                <a16:creationId xmlns:a16="http://schemas.microsoft.com/office/drawing/2014/main" id="{59037F40-E5DF-4B7D-9923-77887F4ACB9B}"/>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Tree>
    <p:extLst>
      <p:ext uri="{BB962C8B-B14F-4D97-AF65-F5344CB8AC3E}">
        <p14:creationId xmlns:p14="http://schemas.microsoft.com/office/powerpoint/2010/main" val="7793461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ntent 1 text with bullet">
    <p:spTree>
      <p:nvGrpSpPr>
        <p:cNvPr id="1" name=""/>
        <p:cNvGrpSpPr/>
        <p:nvPr/>
      </p:nvGrpSpPr>
      <p:grpSpPr>
        <a:xfrm>
          <a:off x="0" y="0"/>
          <a:ext cx="0" cy="0"/>
          <a:chOff x="0" y="0"/>
          <a:chExt cx="0" cy="0"/>
        </a:xfrm>
      </p:grpSpPr>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5468422" cy="436516"/>
          </a:xfrm>
          <a:prstGeom prst="rect">
            <a:avLst/>
          </a:prstGeom>
        </p:spPr>
        <p:txBody>
          <a:bodyPr wrap="square" lIns="0" tIns="14400" rIns="0" bIns="0">
            <a:spAutoFit/>
          </a:bodyPr>
          <a:lstStyle>
            <a:lvl1pPr algn="l">
              <a:defRPr sz="2742" b="1">
                <a:solidFill>
                  <a:schemeClr val="accent2"/>
                </a:solidFill>
              </a:defRPr>
            </a:lvl1pPr>
          </a:lstStyle>
          <a:p>
            <a:r>
              <a:rPr lang="en-US" noProof="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5468422" cy="1372477"/>
          </a:xfrm>
          <a:prstGeom prst="rect">
            <a:avLst/>
          </a:prstGeo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a:t>Text level 1</a:t>
            </a:r>
          </a:p>
          <a:p>
            <a:pPr lvl="1"/>
            <a:r>
              <a:rPr lang="en-US"/>
              <a:t>Text level 2</a:t>
            </a:r>
          </a:p>
          <a:p>
            <a:pPr lvl="2"/>
            <a:r>
              <a:rPr lang="en-US"/>
              <a:t>Text level 3</a:t>
            </a:r>
          </a:p>
          <a:p>
            <a:pPr lvl="3"/>
            <a:r>
              <a:rPr lang="en-US"/>
              <a:t>Text level 4</a:t>
            </a:r>
          </a:p>
          <a:p>
            <a:pPr lvl="4"/>
            <a:r>
              <a:rPr lang="en-US"/>
              <a:t>Text level 5</a:t>
            </a:r>
          </a:p>
        </p:txBody>
      </p:sp>
      <p:sp>
        <p:nvSpPr>
          <p:cNvPr id="3" name="Rectangle 2">
            <a:extLst>
              <a:ext uri="{FF2B5EF4-FFF2-40B4-BE49-F238E27FC236}">
                <a16:creationId xmlns:a16="http://schemas.microsoft.com/office/drawing/2014/main" id="{1A750A8D-D645-4EBC-8C78-B725FE49F392}"/>
              </a:ext>
            </a:extLst>
          </p:cNvPr>
          <p:cNvSpPr/>
          <p:nvPr userDrawn="1"/>
        </p:nvSpPr>
        <p:spPr>
          <a:xfrm>
            <a:off x="7506891" y="0"/>
            <a:ext cx="239910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p>
        </p:txBody>
      </p:sp>
      <p:pic>
        <p:nvPicPr>
          <p:cNvPr id="12" name="Graphique 30">
            <a:extLst>
              <a:ext uri="{FF2B5EF4-FFF2-40B4-BE49-F238E27FC236}">
                <a16:creationId xmlns:a16="http://schemas.microsoft.com/office/drawing/2014/main" id="{AB20CABB-66EA-4633-A391-7708C26384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 name="bg object 20">
            <a:extLst>
              <a:ext uri="{FF2B5EF4-FFF2-40B4-BE49-F238E27FC236}">
                <a16:creationId xmlns:a16="http://schemas.microsoft.com/office/drawing/2014/main" id="{922896F2-0923-44AF-A3DA-76ED2701C2C3}"/>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3" name="TextBox 16">
            <a:extLst>
              <a:ext uri="{FF2B5EF4-FFF2-40B4-BE49-F238E27FC236}">
                <a16:creationId xmlns:a16="http://schemas.microsoft.com/office/drawing/2014/main" id="{5F93FA0E-B448-4F73-9628-624EC50C0698}"/>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10" name="Footer Placeholder 4">
            <a:extLst>
              <a:ext uri="{FF2B5EF4-FFF2-40B4-BE49-F238E27FC236}">
                <a16:creationId xmlns:a16="http://schemas.microsoft.com/office/drawing/2014/main" id="{720C2BC6-A025-45B8-9440-D8DAE250EE07}"/>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23343657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a:t>00</a:t>
            </a:r>
            <a:endParaRPr lang="en-US"/>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a:t>Contents</a:t>
            </a:r>
          </a:p>
        </p:txBody>
      </p:sp>
    </p:spTree>
    <p:extLst>
      <p:ext uri="{BB962C8B-B14F-4D97-AF65-F5344CB8AC3E}">
        <p14:creationId xmlns:p14="http://schemas.microsoft.com/office/powerpoint/2010/main" val="2999159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s">
    <p:spTree>
      <p:nvGrpSpPr>
        <p:cNvPr id="1" name=""/>
        <p:cNvGrpSpPr/>
        <p:nvPr/>
      </p:nvGrpSpPr>
      <p:grpSpPr>
        <a:xfrm>
          <a:off x="0" y="0"/>
          <a:ext cx="0" cy="0"/>
          <a:chOff x="0" y="0"/>
          <a:chExt cx="0" cy="0"/>
        </a:xfrm>
      </p:grpSpPr>
      <p:sp>
        <p:nvSpPr>
          <p:cNvPr id="13" name="Content Placeholder 5"/>
          <p:cNvSpPr>
            <a:spLocks noGrp="1"/>
          </p:cNvSpPr>
          <p:nvPr>
            <p:ph sz="quarter" idx="14"/>
          </p:nvPr>
        </p:nvSpPr>
        <p:spPr>
          <a:xfrm>
            <a:off x="6635212" y="1243896"/>
            <a:ext cx="2779121" cy="5224699"/>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432" y="1240325"/>
            <a:ext cx="2779121" cy="5238296"/>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Content Placeholder 5"/>
          <p:cNvSpPr>
            <a:spLocks noGrp="1"/>
          </p:cNvSpPr>
          <p:nvPr>
            <p:ph sz="quarter" idx="4"/>
          </p:nvPr>
        </p:nvSpPr>
        <p:spPr>
          <a:xfrm>
            <a:off x="3616843" y="1249378"/>
            <a:ext cx="2779121" cy="5229244"/>
          </a:xfrm>
        </p:spPr>
        <p:txBody>
          <a:bodyPr/>
          <a:lstStyle>
            <a:lvl1pPr>
              <a:lnSpc>
                <a:spcPct val="95000"/>
              </a:lnSpc>
              <a:defRPr sz="2000"/>
            </a:lvl1pPr>
            <a:lvl2pPr>
              <a:lnSpc>
                <a:spcPct val="95000"/>
              </a:lnSpc>
              <a:defRPr sz="1800"/>
            </a:lvl2pPr>
            <a:lvl3pPr>
              <a:lnSpc>
                <a:spcPct val="95000"/>
              </a:lnSpc>
              <a:defRPr sz="1600"/>
            </a:lvl3pPr>
            <a:lvl4pPr>
              <a:lnSpc>
                <a:spcPct val="95000"/>
              </a:lnSpc>
              <a:defRPr sz="1400"/>
            </a:lvl4pPr>
            <a:lvl5pPr>
              <a:lnSpc>
                <a:spcPct val="95000"/>
              </a:lnSpc>
              <a:defRPr sz="12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1AE67-A6AF-4140-9B54-D4B451EC2AAF}" type="slidenum">
              <a:rPr lang="fr-FR" smtClean="0"/>
              <a:t>‹N°›</a:t>
            </a:fld>
            <a:endParaRPr lang="fr-FR"/>
          </a:p>
        </p:txBody>
      </p:sp>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648723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Réference">
    <p:spTree>
      <p:nvGrpSpPr>
        <p:cNvPr id="1" name=""/>
        <p:cNvGrpSpPr/>
        <p:nvPr/>
      </p:nvGrpSpPr>
      <p:grpSpPr>
        <a:xfrm>
          <a:off x="0" y="0"/>
          <a:ext cx="0" cy="0"/>
          <a:chOff x="0" y="0"/>
          <a:chExt cx="0" cy="0"/>
        </a:xfrm>
      </p:grpSpPr>
      <p:sp>
        <p:nvSpPr>
          <p:cNvPr id="39" name="TextBox 11"/>
          <p:cNvSpPr txBox="1"/>
          <p:nvPr userDrawn="1"/>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22" name="Espace réservé pour une image  12"/>
          <p:cNvSpPr>
            <a:spLocks noGrp="1"/>
          </p:cNvSpPr>
          <p:nvPr>
            <p:ph type="pic" sz="quarter" idx="25"/>
          </p:nvPr>
        </p:nvSpPr>
        <p:spPr>
          <a:xfrm>
            <a:off x="7572682" y="0"/>
            <a:ext cx="2333317" cy="6858000"/>
          </a:xfrm>
        </p:spPr>
        <p:txBody>
          <a:bodyPr anchor="ctr"/>
          <a:lstStyle>
            <a:lvl1pPr algn="ctr">
              <a:defRPr/>
            </a:lvl1pPr>
          </a:lstStyle>
          <a:p>
            <a:r>
              <a:rPr lang="fr-FR"/>
              <a:t>Cliquez sur l'icône pour ajouter une image</a:t>
            </a:r>
          </a:p>
        </p:txBody>
      </p:sp>
      <p:sp>
        <p:nvSpPr>
          <p:cNvPr id="2" name="Title 1"/>
          <p:cNvSpPr>
            <a:spLocks noGrp="1"/>
          </p:cNvSpPr>
          <p:nvPr>
            <p:ph type="title"/>
          </p:nvPr>
        </p:nvSpPr>
        <p:spPr>
          <a:xfrm>
            <a:off x="619433" y="419858"/>
            <a:ext cx="6343342" cy="997392"/>
          </a:xfrm>
        </p:spPr>
        <p:txBody>
          <a:bodyPr tIns="198000" bIns="0" anchor="t"/>
          <a:lstStyle>
            <a:lvl1pPr>
              <a:lnSpc>
                <a:spcPct val="70000"/>
              </a:lnSpc>
              <a:defRPr/>
            </a:lvl1pPr>
          </a:lstStyle>
          <a:p>
            <a:r>
              <a:rPr lang="fr-FR"/>
              <a:t>Modifiez le style du titre</a:t>
            </a:r>
            <a:endParaRPr lang="en-US"/>
          </a:p>
        </p:txBody>
      </p:sp>
      <p:sp>
        <p:nvSpPr>
          <p:cNvPr id="3" name="Content Placeholder 2"/>
          <p:cNvSpPr>
            <a:spLocks noGrp="1"/>
          </p:cNvSpPr>
          <p:nvPr>
            <p:ph sz="half" idx="1"/>
          </p:nvPr>
        </p:nvSpPr>
        <p:spPr>
          <a:xfrm>
            <a:off x="62242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Footer Placeholder 5"/>
          <p:cNvSpPr>
            <a:spLocks noGrp="1"/>
          </p:cNvSpPr>
          <p:nvPr>
            <p:ph type="ftr" sz="quarter" idx="11"/>
          </p:nvPr>
        </p:nvSpPr>
        <p:spPr>
          <a:xfrm>
            <a:off x="1127150" y="98195"/>
            <a:ext cx="5835600" cy="306000"/>
          </a:xfrm>
        </p:spPr>
        <p:txBody>
          <a:bodyPr/>
          <a:lstStyle/>
          <a:p>
            <a:endParaRPr lang="fr-FR"/>
          </a:p>
        </p:txBody>
      </p:sp>
      <p:sp>
        <p:nvSpPr>
          <p:cNvPr id="7" name="Slide Number Placeholder 6"/>
          <p:cNvSpPr>
            <a:spLocks noGrp="1"/>
          </p:cNvSpPr>
          <p:nvPr>
            <p:ph type="sldNum" sz="quarter" idx="12"/>
          </p:nvPr>
        </p:nvSpPr>
        <p:spPr/>
        <p:txBody>
          <a:bodyPr/>
          <a:lstStyle/>
          <a:p>
            <a:fld id="{95D1AE67-A6AF-4140-9B54-D4B451EC2AAF}" type="slidenum">
              <a:rPr lang="fr-FR" smtClean="0"/>
              <a:t>‹N°›</a:t>
            </a:fld>
            <a:endParaRPr lang="fr-FR"/>
          </a:p>
        </p:txBody>
      </p:sp>
      <p:sp>
        <p:nvSpPr>
          <p:cNvPr id="8" name="Text Placeholder 2"/>
          <p:cNvSpPr>
            <a:spLocks noGrp="1"/>
          </p:cNvSpPr>
          <p:nvPr>
            <p:ph type="body" idx="13" hasCustomPrompt="1"/>
          </p:nvPr>
        </p:nvSpPr>
        <p:spPr>
          <a:xfrm>
            <a:off x="61943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sp>
        <p:nvSpPr>
          <p:cNvPr id="13" name="Espace réservé pour une image  12"/>
          <p:cNvSpPr>
            <a:spLocks noGrp="1"/>
          </p:cNvSpPr>
          <p:nvPr>
            <p:ph type="pic" sz="quarter" idx="16" hasCustomPrompt="1"/>
          </p:nvPr>
        </p:nvSpPr>
        <p:spPr>
          <a:xfrm>
            <a:off x="619126" y="1605670"/>
            <a:ext cx="2361564" cy="881109"/>
          </a:xfrm>
        </p:spPr>
        <p:txBody>
          <a:bodyPr anchor="t">
            <a:normAutofit/>
          </a:bodyPr>
          <a:lstStyle>
            <a:lvl1pPr marL="0" indent="0" algn="l">
              <a:buFontTx/>
              <a:buNone/>
              <a:defRPr sz="1400"/>
            </a:lvl1pPr>
          </a:lstStyle>
          <a:p>
            <a:r>
              <a:rPr lang="fr-FR"/>
              <a:t>Insérer ici le logo client</a:t>
            </a:r>
          </a:p>
        </p:txBody>
      </p:sp>
      <p:pic>
        <p:nvPicPr>
          <p:cNvPr id="38" name="Image 37"/>
          <p:cNvPicPr>
            <a:picLocks noChangeAspect="1"/>
          </p:cNvPicPr>
          <p:nvPr userDrawn="1"/>
        </p:nvPicPr>
        <p:blipFill>
          <a:blip r:embed="rId2" cstate="print">
            <a:extLst>
              <a:ext uri="{28A0092B-C50C-407E-A947-70E740481C1C}">
                <a14:useLocalDpi xmlns:a14="http://schemas.microsoft.com/office/drawing/2010/main"/>
              </a:ext>
            </a:extLst>
          </a:blip>
          <a:srcRect r="-8543"/>
          <a:stretch>
            <a:fillRect/>
          </a:stretch>
        </p:blipFill>
        <p:spPr>
          <a:xfrm>
            <a:off x="7007382" y="78196"/>
            <a:ext cx="508636" cy="330406"/>
          </a:xfrm>
          <a:custGeom>
            <a:avLst/>
            <a:gdLst>
              <a:gd name="connsiteX0" fmla="*/ 509253 w 552756"/>
              <a:gd name="connsiteY0" fmla="*/ 264808 h 359066"/>
              <a:gd name="connsiteX1" fmla="*/ 552756 w 552756"/>
              <a:gd name="connsiteY1" fmla="*/ 264808 h 359066"/>
              <a:gd name="connsiteX2" fmla="*/ 552756 w 552756"/>
              <a:gd name="connsiteY2" fmla="*/ 347530 h 359066"/>
              <a:gd name="connsiteX3" fmla="*/ 509253 w 552756"/>
              <a:gd name="connsiteY3" fmla="*/ 347530 h 359066"/>
              <a:gd name="connsiteX4" fmla="*/ 0 w 552756"/>
              <a:gd name="connsiteY4" fmla="*/ 0 h 359066"/>
              <a:gd name="connsiteX5" fmla="*/ 509253 w 552756"/>
              <a:gd name="connsiteY5" fmla="*/ 0 h 359066"/>
              <a:gd name="connsiteX6" fmla="*/ 509253 w 552756"/>
              <a:gd name="connsiteY6" fmla="*/ 264808 h 359066"/>
              <a:gd name="connsiteX7" fmla="*/ 191069 w 552756"/>
              <a:gd name="connsiteY7" fmla="*/ 264808 h 359066"/>
              <a:gd name="connsiteX8" fmla="*/ 191069 w 552756"/>
              <a:gd name="connsiteY8" fmla="*/ 347530 h 359066"/>
              <a:gd name="connsiteX9" fmla="*/ 509253 w 552756"/>
              <a:gd name="connsiteY9" fmla="*/ 347530 h 359066"/>
              <a:gd name="connsiteX10" fmla="*/ 509253 w 552756"/>
              <a:gd name="connsiteY10" fmla="*/ 359066 h 359066"/>
              <a:gd name="connsiteX11" fmla="*/ 0 w 552756"/>
              <a:gd name="connsiteY11" fmla="*/ 359066 h 35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2756" h="359066">
                <a:moveTo>
                  <a:pt x="509253" y="264808"/>
                </a:moveTo>
                <a:lnTo>
                  <a:pt x="552756" y="264808"/>
                </a:lnTo>
                <a:lnTo>
                  <a:pt x="552756" y="347530"/>
                </a:lnTo>
                <a:lnTo>
                  <a:pt x="509253" y="347530"/>
                </a:lnTo>
                <a:close/>
                <a:moveTo>
                  <a:pt x="0" y="0"/>
                </a:moveTo>
                <a:lnTo>
                  <a:pt x="509253" y="0"/>
                </a:lnTo>
                <a:lnTo>
                  <a:pt x="509253" y="264808"/>
                </a:lnTo>
                <a:lnTo>
                  <a:pt x="191069" y="264808"/>
                </a:lnTo>
                <a:lnTo>
                  <a:pt x="191069" y="347530"/>
                </a:lnTo>
                <a:lnTo>
                  <a:pt x="509253" y="347530"/>
                </a:lnTo>
                <a:lnTo>
                  <a:pt x="509253" y="359066"/>
                </a:lnTo>
                <a:lnTo>
                  <a:pt x="0" y="359066"/>
                </a:lnTo>
                <a:close/>
              </a:path>
            </a:pathLst>
          </a:custGeom>
        </p:spPr>
      </p:pic>
      <p:sp>
        <p:nvSpPr>
          <p:cNvPr id="55" name="Text Placeholder 2"/>
          <p:cNvSpPr>
            <a:spLocks noGrp="1"/>
          </p:cNvSpPr>
          <p:nvPr>
            <p:ph type="body" idx="31" hasCustomPrompt="1"/>
          </p:nvPr>
        </p:nvSpPr>
        <p:spPr>
          <a:xfrm>
            <a:off x="2971708"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6" name="Connecteur droit 55"/>
          <p:cNvCxnSpPr/>
          <p:nvPr userDrawn="1"/>
        </p:nvCxnSpPr>
        <p:spPr>
          <a:xfrm>
            <a:off x="2971400"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ph type="body" idx="33" hasCustomPrompt="1"/>
          </p:nvPr>
        </p:nvSpPr>
        <p:spPr>
          <a:xfrm>
            <a:off x="5359153" y="2600325"/>
            <a:ext cx="2078553" cy="285388"/>
          </a:xfrm>
        </p:spPr>
        <p:txBody>
          <a:bodyPr anchor="b">
            <a:noAutofit/>
          </a:bodyPr>
          <a:lstStyle>
            <a:lvl1pPr marL="0" indent="0">
              <a:lnSpc>
                <a:spcPct val="80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a:t>
            </a:r>
          </a:p>
        </p:txBody>
      </p:sp>
      <p:cxnSp>
        <p:nvCxnSpPr>
          <p:cNvPr id="59" name="Connecteur droit 58"/>
          <p:cNvCxnSpPr/>
          <p:nvPr userDrawn="1"/>
        </p:nvCxnSpPr>
        <p:spPr>
          <a:xfrm>
            <a:off x="5358845" y="2914288"/>
            <a:ext cx="3429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userDrawn="1"/>
        </p:nvCxnSpPr>
        <p:spPr>
          <a:xfrm>
            <a:off x="617992" y="2914288"/>
            <a:ext cx="3429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sz="half" idx="34"/>
          </p:nvPr>
        </p:nvSpPr>
        <p:spPr>
          <a:xfrm>
            <a:off x="2971708"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Content Placeholder 2"/>
          <p:cNvSpPr>
            <a:spLocks noGrp="1"/>
          </p:cNvSpPr>
          <p:nvPr>
            <p:ph sz="half" idx="35"/>
          </p:nvPr>
        </p:nvSpPr>
        <p:spPr>
          <a:xfrm>
            <a:off x="5359153" y="2990849"/>
            <a:ext cx="2075509" cy="3609976"/>
          </a:xfrm>
        </p:spPr>
        <p:txBody>
          <a:bodyPr bIns="0">
            <a:normAutofit/>
          </a:bodyPr>
          <a:lstStyle>
            <a:lvl1pPr marL="0" indent="0">
              <a:spcBef>
                <a:spcPts val="400"/>
              </a:spcBef>
              <a:buFontTx/>
              <a:buNone/>
              <a:defRPr sz="1300"/>
            </a:lvl1pPr>
            <a:lvl2pPr marL="108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200"/>
            </a:lvl2pPr>
            <a:lvl3pPr marL="216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100"/>
            </a:lvl3pPr>
            <a:lvl4pPr marL="324000" marR="0" indent="-108000" algn="l" defTabSz="914400" rtl="0" eaLnBrk="1" fontAlgn="auto" latinLnBrk="0" hangingPunct="1">
              <a:lnSpc>
                <a:spcPct val="90000"/>
              </a:lnSpc>
              <a:spcBef>
                <a:spcPts val="200"/>
              </a:spcBef>
              <a:spcAft>
                <a:spcPts val="0"/>
              </a:spcAft>
              <a:buClr>
                <a:schemeClr val="tx1"/>
              </a:buClr>
              <a:buSzTx/>
              <a:buFont typeface="Myriad Pro" panose="020B0503030403020204" pitchFamily="34" charset="0"/>
              <a:buChar char="›"/>
              <a:tabLst/>
              <a:defRPr sz="1050"/>
            </a:lvl4pPr>
            <a:lvl5pPr marL="432000" indent="-108000">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11279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11" name="Espace réservé du texte 3"/>
          <p:cNvSpPr>
            <a:spLocks noGrp="1"/>
          </p:cNvSpPr>
          <p:nvPr>
            <p:ph type="body" sz="quarter" idx="14"/>
          </p:nvPr>
        </p:nvSpPr>
        <p:spPr>
          <a:xfrm>
            <a:off x="630864" y="1351776"/>
            <a:ext cx="8652986"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00195201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s + encart ba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Rectangle 4"/>
          <p:cNvSpPr/>
          <p:nvPr userDrawn="1"/>
        </p:nvSpPr>
        <p:spPr>
          <a:xfrm>
            <a:off x="0" y="5029201"/>
            <a:ext cx="9906000" cy="1866900"/>
          </a:xfrm>
          <a:prstGeom prst="rect">
            <a:avLst/>
          </a:prstGeom>
          <a:solidFill>
            <a:srgbClr val="10182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6"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9" name="Espace réservé du texte 3"/>
          <p:cNvSpPr>
            <a:spLocks noGrp="1"/>
          </p:cNvSpPr>
          <p:nvPr>
            <p:ph type="body" sz="quarter" idx="14"/>
          </p:nvPr>
        </p:nvSpPr>
        <p:spPr>
          <a:xfrm>
            <a:off x="630863" y="1351776"/>
            <a:ext cx="4169737"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texte 3"/>
          <p:cNvSpPr>
            <a:spLocks noGrp="1"/>
          </p:cNvSpPr>
          <p:nvPr>
            <p:ph type="body" sz="quarter" idx="15"/>
          </p:nvPr>
        </p:nvSpPr>
        <p:spPr>
          <a:xfrm>
            <a:off x="5110370" y="1351776"/>
            <a:ext cx="4152900" cy="334722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 Placeholder 4"/>
          <p:cNvSpPr>
            <a:spLocks noGrp="1"/>
          </p:cNvSpPr>
          <p:nvPr>
            <p:ph type="body" sz="quarter" idx="16"/>
          </p:nvPr>
        </p:nvSpPr>
        <p:spPr>
          <a:xfrm>
            <a:off x="647700" y="5245101"/>
            <a:ext cx="8585200" cy="1384300"/>
          </a:xfrm>
        </p:spPr>
        <p:txBody>
          <a:bodyPr/>
          <a:lstStyle>
            <a:lvl1pPr marL="0" indent="0" algn="l" defTabSz="873126" rtl="0" eaLnBrk="0" fontAlgn="base" hangingPunct="0">
              <a:lnSpc>
                <a:spcPct val="80000"/>
              </a:lnSpc>
              <a:spcBef>
                <a:spcPct val="20000"/>
              </a:spcBef>
              <a:spcAft>
                <a:spcPct val="0"/>
              </a:spcAft>
              <a:buClr>
                <a:schemeClr val="accent1"/>
              </a:buClr>
              <a:buFont typeface="Lucida Grande"/>
              <a:buNone/>
              <a:defRPr lang="pt-PT" sz="2200" kern="1200" dirty="0" smtClean="0">
                <a:solidFill>
                  <a:srgbClr val="FFFFFF"/>
                </a:solidFill>
                <a:latin typeface="Calibri" pitchFamily="34" charset="0"/>
                <a:ea typeface="ＭＳ Ｐゴシック" charset="-128"/>
                <a:cs typeface="+mn-cs"/>
              </a:defRPr>
            </a:lvl1pPr>
            <a:lvl2pPr marL="515775" indent="0">
              <a:lnSpc>
                <a:spcPct val="80000"/>
              </a:lnSpc>
              <a:buClr>
                <a:schemeClr val="accent1"/>
              </a:buClr>
              <a:buFont typeface="Lucida Grande"/>
              <a:buNone/>
              <a:defRPr sz="2200">
                <a:solidFill>
                  <a:srgbClr val="FFFFFF"/>
                </a:solidFill>
              </a:defRPr>
            </a:lvl2pPr>
            <a:lvl3pPr marL="1031547" indent="0">
              <a:lnSpc>
                <a:spcPct val="80000"/>
              </a:lnSpc>
              <a:buClr>
                <a:schemeClr val="accent1"/>
              </a:buClr>
              <a:buFont typeface="Lucida Grande"/>
              <a:buNone/>
              <a:defRPr sz="2200">
                <a:solidFill>
                  <a:srgbClr val="FFFFFF"/>
                </a:solidFill>
              </a:defRPr>
            </a:lvl3pPr>
            <a:lvl4pPr marL="1547322" indent="0">
              <a:lnSpc>
                <a:spcPct val="80000"/>
              </a:lnSpc>
              <a:buClr>
                <a:schemeClr val="accent1"/>
              </a:buClr>
              <a:buFont typeface="Lucida Grande"/>
              <a:buNone/>
              <a:defRPr sz="2200">
                <a:solidFill>
                  <a:srgbClr val="FFFFFF"/>
                </a:solidFill>
              </a:defRPr>
            </a:lvl4pPr>
            <a:lvl5pPr marL="2063094" indent="0">
              <a:lnSpc>
                <a:spcPct val="80000"/>
              </a:lnSpc>
              <a:buClr>
                <a:schemeClr val="accent1"/>
              </a:buClr>
              <a:buFont typeface="Lucida Grande"/>
              <a:buNone/>
              <a:defRPr sz="2200">
                <a:solidFill>
                  <a:srgbClr val="FFFFFF"/>
                </a:solidFill>
              </a:defRPr>
            </a:lvl5pPr>
          </a:lstStyle>
          <a:p>
            <a:pPr lvl="0"/>
            <a:r>
              <a:rPr lang="pt-PT" err="1"/>
              <a:t>Click</a:t>
            </a:r>
            <a:r>
              <a:rPr lang="pt-PT"/>
              <a:t> to </a:t>
            </a:r>
            <a:r>
              <a:rPr lang="pt-PT" err="1"/>
              <a:t>edit</a:t>
            </a:r>
            <a:r>
              <a:rPr lang="pt-PT"/>
              <a:t> </a:t>
            </a:r>
            <a:r>
              <a:rPr lang="pt-PT" err="1"/>
              <a:t>Master</a:t>
            </a:r>
            <a:r>
              <a:rPr lang="pt-PT"/>
              <a:t> </a:t>
            </a:r>
            <a:r>
              <a:rPr lang="pt-PT" err="1"/>
              <a:t>text</a:t>
            </a:r>
            <a:r>
              <a:rPr lang="pt-PT"/>
              <a:t> </a:t>
            </a:r>
            <a:r>
              <a:rPr lang="pt-PT" err="1"/>
              <a:t>styles</a:t>
            </a:r>
            <a:endParaRPr lang="pt-PT"/>
          </a:p>
          <a:p>
            <a:pPr lvl="1"/>
            <a:r>
              <a:rPr lang="pt-PT" err="1"/>
              <a:t>Second</a:t>
            </a:r>
            <a:r>
              <a:rPr lang="pt-PT"/>
              <a:t> </a:t>
            </a:r>
            <a:r>
              <a:rPr lang="pt-PT" err="1"/>
              <a:t>level</a:t>
            </a:r>
            <a:endParaRPr lang="pt-PT"/>
          </a:p>
          <a:p>
            <a:pPr lvl="2"/>
            <a:r>
              <a:rPr lang="pt-PT" err="1"/>
              <a:t>Third</a:t>
            </a:r>
            <a:r>
              <a:rPr lang="pt-PT"/>
              <a:t> </a:t>
            </a:r>
            <a:r>
              <a:rPr lang="pt-PT" err="1"/>
              <a:t>level</a:t>
            </a:r>
            <a:endParaRPr lang="pt-PT"/>
          </a:p>
          <a:p>
            <a:pPr lvl="3"/>
            <a:r>
              <a:rPr lang="pt-PT" err="1"/>
              <a:t>Fourth</a:t>
            </a:r>
            <a:r>
              <a:rPr lang="pt-PT"/>
              <a:t> </a:t>
            </a:r>
            <a:r>
              <a:rPr lang="pt-PT" err="1"/>
              <a:t>level</a:t>
            </a:r>
            <a:endParaRPr lang="pt-PT"/>
          </a:p>
          <a:p>
            <a:pPr lvl="4"/>
            <a:r>
              <a:rPr lang="pt-PT" err="1"/>
              <a:t>Fifth</a:t>
            </a:r>
            <a:r>
              <a:rPr lang="pt-PT"/>
              <a:t> </a:t>
            </a:r>
            <a:r>
              <a:rPr lang="pt-PT" err="1"/>
              <a:t>level</a:t>
            </a:r>
            <a:endParaRPr lang="en-US"/>
          </a:p>
        </p:txBody>
      </p:sp>
      <p:pic>
        <p:nvPicPr>
          <p:cNvPr id="15" name="Imag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7"/>
          </p:nvPr>
        </p:nvSpPr>
        <p:spPr/>
        <p:txBody>
          <a:bodyPr/>
          <a:lstStyle/>
          <a:p>
            <a:endParaRPr lang="fr-FR"/>
          </a:p>
        </p:txBody>
      </p:sp>
    </p:spTree>
    <p:extLst>
      <p:ext uri="{BB962C8B-B14F-4D97-AF65-F5344CB8AC3E}">
        <p14:creationId xmlns:p14="http://schemas.microsoft.com/office/powerpoint/2010/main" val="1619142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97905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Dernière page">
    <p:spTree>
      <p:nvGrpSpPr>
        <p:cNvPr id="1" name=""/>
        <p:cNvGrpSpPr/>
        <p:nvPr/>
      </p:nvGrpSpPr>
      <p:grpSpPr>
        <a:xfrm>
          <a:off x="0" y="0"/>
          <a:ext cx="0" cy="0"/>
          <a:chOff x="0" y="0"/>
          <a:chExt cx="0" cy="0"/>
        </a:xfrm>
      </p:grpSpPr>
      <p:sp>
        <p:nvSpPr>
          <p:cNvPr id="12" name="TextBox 11"/>
          <p:cNvSpPr txBox="1"/>
          <p:nvPr userDrawn="1"/>
        </p:nvSpPr>
        <p:spPr>
          <a:xfrm>
            <a:off x="0" y="0"/>
            <a:ext cx="9906000" cy="6858000"/>
          </a:xfrm>
          <a:prstGeom prst="rect">
            <a:avLst/>
          </a:prstGeom>
          <a:solidFill>
            <a:schemeClr val="accent1"/>
          </a:solidFill>
          <a:ln w="9525">
            <a:noFill/>
            <a:round/>
            <a:headEnd/>
            <a:tailEnd/>
          </a:ln>
          <a:effectLst/>
        </p:spPr>
        <p:txBody>
          <a:bodyPr wrap="square" lIns="121837" tIns="0" rIns="103155" bIns="69040" anchor="ctr">
            <a:normAutofit/>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514" y="5896470"/>
            <a:ext cx="951809" cy="671106"/>
          </a:xfrm>
          <a:prstGeom prst="rect">
            <a:avLst/>
          </a:prstGeom>
        </p:spPr>
      </p:pic>
    </p:spTree>
    <p:extLst>
      <p:ext uri="{BB962C8B-B14F-4D97-AF65-F5344CB8AC3E}">
        <p14:creationId xmlns:p14="http://schemas.microsoft.com/office/powerpoint/2010/main" val="118654511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486383"/>
            <a:ext cx="8543925" cy="1777315"/>
          </a:xfrm>
        </p:spPr>
        <p:txBody>
          <a:bodyPr tIns="0" bIns="0" anchor="b"/>
          <a:lstStyle>
            <a:lvl1pPr>
              <a:defRPr sz="6000"/>
            </a:lvl1pPr>
          </a:lstStyle>
          <a:p>
            <a:r>
              <a:rPr lang="fr-FR"/>
              <a:t>Sommaire</a:t>
            </a:r>
            <a:endParaRPr lang="en-US"/>
          </a:p>
        </p:txBody>
      </p:sp>
      <p:sp>
        <p:nvSpPr>
          <p:cNvPr id="3" name="Text Placeholder 2"/>
          <p:cNvSpPr>
            <a:spLocks noGrp="1"/>
          </p:cNvSpPr>
          <p:nvPr>
            <p:ph type="body" idx="1"/>
          </p:nvPr>
        </p:nvSpPr>
        <p:spPr>
          <a:xfrm>
            <a:off x="675879" y="2568103"/>
            <a:ext cx="8166669" cy="3910518"/>
          </a:xfrm>
        </p:spPr>
        <p:txBody>
          <a:bodyPr>
            <a:normAutofit/>
          </a:bodyPr>
          <a:lstStyle>
            <a:lvl1pPr marL="432000" marR="0" indent="-432000" algn="l" defTabSz="914400" rtl="0" eaLnBrk="1" fontAlgn="auto" latinLnBrk="0" hangingPunct="1">
              <a:lnSpc>
                <a:spcPct val="100000"/>
              </a:lnSpc>
              <a:spcBef>
                <a:spcPts val="0"/>
              </a:spcBef>
              <a:spcAft>
                <a:spcPts val="0"/>
              </a:spcAft>
              <a:buClr>
                <a:schemeClr val="accent1"/>
              </a:buClr>
              <a:buSzTx/>
              <a:buFont typeface="+mj-lt"/>
              <a:buAutoNum type="romanUcPeriod"/>
              <a:tabLst/>
              <a:defRPr sz="2000" b="1" baseline="0">
                <a:solidFill>
                  <a:schemeClr val="tx1"/>
                </a:solidFill>
              </a:defRPr>
            </a:lvl1pPr>
            <a:lvl2pPr marL="684000" indent="-288000">
              <a:lnSpc>
                <a:spcPct val="100000"/>
              </a:lnSpc>
              <a:spcBef>
                <a:spcPts val="0"/>
              </a:spcBef>
              <a:buClr>
                <a:schemeClr val="accent1"/>
              </a:buClr>
              <a:buFont typeface="+mj-lt"/>
              <a:buAutoNum type="arabicPeriod"/>
              <a:defRPr sz="1800" i="1">
                <a:solidFill>
                  <a:schemeClr val="accent1"/>
                </a:solidFill>
              </a:defRPr>
            </a:lvl2pPr>
            <a:lvl3pPr marL="864000" indent="-180000">
              <a:buClr>
                <a:schemeClr val="bg1">
                  <a:lumMod val="65000"/>
                </a:schemeClr>
              </a:buClr>
              <a:buFont typeface="Myriad Pro" panose="020B0503030403020204" pitchFamily="34" charset="0"/>
              <a:buChar char="›"/>
              <a:defRPr sz="1600">
                <a:solidFill>
                  <a:schemeClr val="tx1">
                    <a:tint val="75000"/>
                  </a:schemeClr>
                </a:solidFill>
              </a:defRPr>
            </a:lvl3pPr>
            <a:lvl4pPr marL="1008000" indent="-108000">
              <a:buClr>
                <a:schemeClr val="accent3"/>
              </a:buClr>
              <a:buFont typeface="Myriad Pro" panose="020B0503030403020204" pitchFamily="34" charset="0"/>
              <a:buChar char="›"/>
              <a:defRPr sz="1400">
                <a:solidFill>
                  <a:schemeClr val="accent3"/>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187729825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tercalaire 5">
    <p:spTree>
      <p:nvGrpSpPr>
        <p:cNvPr id="1" name=""/>
        <p:cNvGrpSpPr/>
        <p:nvPr/>
      </p:nvGrpSpPr>
      <p:grpSpPr>
        <a:xfrm>
          <a:off x="0" y="0"/>
          <a:ext cx="0" cy="0"/>
          <a:chOff x="0" y="0"/>
          <a:chExt cx="0" cy="0"/>
        </a:xfrm>
      </p:grpSpPr>
      <p:pic>
        <p:nvPicPr>
          <p:cNvPr id="5124" name="Picture 4" descr="Résultat de recherche d'images pour &quot;business meeting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4128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Intercalaire 5">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918000" cy="6904115"/>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10539324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ntercalaire 5">
    <p:spTree>
      <p:nvGrpSpPr>
        <p:cNvPr id="1" name=""/>
        <p:cNvGrpSpPr/>
        <p:nvPr/>
      </p:nvGrpSpPr>
      <p:grpSpPr>
        <a:xfrm>
          <a:off x="0" y="0"/>
          <a:ext cx="0" cy="0"/>
          <a:chOff x="0" y="0"/>
          <a:chExt cx="0" cy="0"/>
        </a:xfrm>
      </p:grpSpPr>
      <p:pic>
        <p:nvPicPr>
          <p:cNvPr id="1032"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
            <a:ext cx="9907588"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6" name="Espace réservé de la date 5"/>
          <p:cNvSpPr>
            <a:spLocks noGrp="1"/>
          </p:cNvSpPr>
          <p:nvPr>
            <p:ph type="dt" sz="half" idx="14"/>
          </p:nvPr>
        </p:nvSpPr>
        <p:spPr/>
        <p:txBody>
          <a:bodyPr/>
          <a:lstStyle>
            <a:lvl1pPr>
              <a:defRPr>
                <a:solidFill>
                  <a:schemeClr val="bg1"/>
                </a:solidFill>
              </a:defRPr>
            </a:lvl1pPr>
          </a:lstStyle>
          <a:p>
            <a:endParaRPr lang="fr-FR"/>
          </a:p>
        </p:txBody>
      </p:sp>
      <p:sp>
        <p:nvSpPr>
          <p:cNvPr id="7" name="AutoShape 4" descr="Résultat de recherche d'images pour &quot;automate picture&quo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6" descr="https://www.elmnet.co.uk/wp-content/uploads/2017/08/automate.jpg"/>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5" name="Imag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Tree>
    <p:extLst>
      <p:ext uri="{BB962C8B-B14F-4D97-AF65-F5344CB8AC3E}">
        <p14:creationId xmlns:p14="http://schemas.microsoft.com/office/powerpoint/2010/main" val="163412655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tercalaire 1">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906000" cy="6904114"/>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295118218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Intercalaire 1">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
            <a:ext cx="9906000" cy="6857999"/>
          </a:xfrm>
          <a:prstGeom prst="rect">
            <a:avLst/>
          </a:prstGeom>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spTree>
    <p:extLst>
      <p:ext uri="{BB962C8B-B14F-4D97-AF65-F5344CB8AC3E}">
        <p14:creationId xmlns:p14="http://schemas.microsoft.com/office/powerpoint/2010/main" val="5094276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Intercalaire 1">
    <p:spTree>
      <p:nvGrpSpPr>
        <p:cNvPr id="1" name=""/>
        <p:cNvGrpSpPr/>
        <p:nvPr/>
      </p:nvGrpSpPr>
      <p:grpSpPr>
        <a:xfrm>
          <a:off x="0" y="0"/>
          <a:ext cx="0" cy="0"/>
          <a:chOff x="0" y="0"/>
          <a:chExt cx="0" cy="0"/>
        </a:xfrm>
      </p:grpSpPr>
      <p:pic>
        <p:nvPicPr>
          <p:cNvPr id="4098" name="Picture 2" descr="Résultat de recherche d'images pour &quot;database wallpaper&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3385" b="4348"/>
          <a:stretch/>
        </p:blipFill>
        <p:spPr bwMode="auto">
          <a:xfrm>
            <a:off x="0" y="-1"/>
            <a:ext cx="9906000" cy="687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673862" y="-1"/>
            <a:ext cx="3671688" cy="6912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p:cNvSpPr>
            <a:spLocks noGrp="1"/>
          </p:cNvSpPr>
          <p:nvPr>
            <p:ph type="sldNum" sz="quarter" idx="11"/>
          </p:nvPr>
        </p:nvSpPr>
        <p:spPr>
          <a:solidFill>
            <a:schemeClr val="accent1"/>
          </a:solidFill>
          <a:ln>
            <a:noFill/>
          </a:ln>
        </p:spPr>
        <p:txBody>
          <a:bodyPr/>
          <a:lstStyle/>
          <a:p>
            <a:fld id="{DAAF52A2-F75A-4940-9AD6-D5031E7C29D7}" type="slidenum">
              <a:rPr>
                <a:solidFill>
                  <a:srgbClr val="FFFFFF"/>
                </a:solidFill>
              </a:rPr>
              <a:pPr/>
              <a:t>‹N°›</a:t>
            </a:fld>
            <a:endParaRPr>
              <a:solidFill>
                <a:srgbClr val="FFFFFF"/>
              </a:solidFill>
            </a:endParaRPr>
          </a:p>
        </p:txBody>
      </p:sp>
      <p:sp>
        <p:nvSpPr>
          <p:cNvPr id="11"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12"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5" name="Espace réservé de la date 4"/>
          <p:cNvSpPr>
            <a:spLocks noGrp="1"/>
          </p:cNvSpPr>
          <p:nvPr>
            <p:ph type="dt" sz="half" idx="14"/>
          </p:nvPr>
        </p:nvSpPr>
        <p:spPr/>
        <p:txBody>
          <a:bodyPr/>
          <a:lstStyle>
            <a:lvl1pPr>
              <a:defRPr>
                <a:solidFill>
                  <a:schemeClr val="bg1"/>
                </a:solidFill>
              </a:defRPr>
            </a:lvl1pPr>
          </a:lstStyle>
          <a:p>
            <a:endParaRPr lang="fr-FR"/>
          </a:p>
        </p:txBody>
      </p:sp>
      <p:pic>
        <p:nvPicPr>
          <p:cNvPr id="14" name="Imag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63386363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tercalaire 3">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9906000" cy="6858000"/>
          </a:xfrm>
          <a:prstGeom prst="rect">
            <a:avLst/>
          </a:prstGeom>
        </p:spPr>
      </p:pic>
      <p:sp>
        <p:nvSpPr>
          <p:cNvPr id="14" name="Rectangle 13"/>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3" name="Imag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38"/>
            <a:ext cx="784624" cy="532226"/>
          </a:xfrm>
          <a:prstGeom prst="rect">
            <a:avLst/>
          </a:prstGeom>
        </p:spPr>
      </p:pic>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44162381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calaire 4">
    <p:spTree>
      <p:nvGrpSpPr>
        <p:cNvPr id="1" name=""/>
        <p:cNvGrpSpPr/>
        <p:nvPr/>
      </p:nvGrpSpPr>
      <p:grpSpPr>
        <a:xfrm>
          <a:off x="0" y="0"/>
          <a:ext cx="0" cy="0"/>
          <a:chOff x="0" y="0"/>
          <a:chExt cx="0" cy="0"/>
        </a:xfrm>
      </p:grpSpPr>
      <p:pic>
        <p:nvPicPr>
          <p:cNvPr id="8" name="Table Placeholder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
            <a:ext cx="9906000" cy="6857999"/>
          </a:xfrm>
          <a:prstGeom prst="rect">
            <a:avLst/>
          </a:prstGeom>
        </p:spPr>
      </p:pic>
      <p:sp>
        <p:nvSpPr>
          <p:cNvPr id="12" name="Rectangle 11"/>
          <p:cNvSpPr/>
          <p:nvPr userDrawn="1"/>
        </p:nvSpPr>
        <p:spPr>
          <a:xfrm>
            <a:off x="673862" y="-1"/>
            <a:ext cx="3671688" cy="6912000"/>
          </a:xfrm>
          <a:prstGeom prst="rect">
            <a:avLst/>
          </a:prstGeom>
          <a:solidFill>
            <a:srgbClr val="101828">
              <a:alpha val="9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2" name="Title 1"/>
          <p:cNvSpPr>
            <a:spLocks noGrp="1"/>
          </p:cNvSpPr>
          <p:nvPr>
            <p:ph type="title" hasCustomPrompt="1"/>
          </p:nvPr>
        </p:nvSpPr>
        <p:spPr>
          <a:xfrm>
            <a:off x="814027" y="2806656"/>
            <a:ext cx="3276588" cy="3030207"/>
          </a:xfrm>
        </p:spPr>
        <p:txBody>
          <a:bodyPr vert="horz" anchor="t"/>
          <a:lstStyle>
            <a:lvl1pPr>
              <a:lnSpc>
                <a:spcPct val="80000"/>
              </a:lnSpc>
              <a:defRPr lang="pt-PT" sz="3600" b="0" kern="1200" dirty="0" err="1" smtClean="0">
                <a:solidFill>
                  <a:srgbClr val="FFFFFF"/>
                </a:solidFill>
                <a:latin typeface="Calibri" charset="0"/>
                <a:ea typeface="ＭＳ Ｐゴシック" charset="0"/>
                <a:cs typeface="ＭＳ Ｐゴシック" charset="0"/>
              </a:defRPr>
            </a:lvl1pPr>
          </a:lstStyle>
          <a:p>
            <a:r>
              <a:rPr lang="en-US"/>
              <a:t>CLIQUEZ POUR AJOUTER UN TITRE</a:t>
            </a:r>
          </a:p>
        </p:txBody>
      </p:sp>
      <p:sp>
        <p:nvSpPr>
          <p:cNvPr id="3" name="Footer Placeholder 2"/>
          <p:cNvSpPr>
            <a:spLocks noGrp="1"/>
          </p:cNvSpPr>
          <p:nvPr>
            <p:ph type="ftr" sz="quarter" idx="10"/>
          </p:nvPr>
        </p:nvSpPr>
        <p:spPr/>
        <p:txBody>
          <a:bodyPr/>
          <a:lstStyle/>
          <a:p>
            <a:endParaRPr lang="en-US">
              <a:solidFill>
                <a:srgbClr val="5C5C5C">
                  <a:lumMod val="60000"/>
                  <a:lumOff val="40000"/>
                </a:srgbClr>
              </a:solidFill>
            </a:endParaRPr>
          </a:p>
        </p:txBody>
      </p:sp>
      <p:sp>
        <p:nvSpPr>
          <p:cNvPr id="4" name="Slide Number Placeholder 3"/>
          <p:cNvSpPr>
            <a:spLocks noGrp="1"/>
          </p:cNvSpPr>
          <p:nvPr>
            <p:ph type="sldNum" sz="quarter" idx="11"/>
          </p:nvPr>
        </p:nvSpPr>
        <p:spPr>
          <a:ln>
            <a:noFill/>
          </a:ln>
        </p:spPr>
        <p:txBody>
          <a:bodyPr/>
          <a:lstStyle/>
          <a:p>
            <a:fld id="{DAAF52A2-F75A-4940-9AD6-D5031E7C29D7}" type="slidenum">
              <a:rPr>
                <a:solidFill>
                  <a:srgbClr val="FFFFFF"/>
                </a:solidFill>
              </a:rPr>
              <a:pPr/>
              <a:t>‹N°›</a:t>
            </a:fld>
            <a:endParaRPr>
              <a:solidFill>
                <a:srgbClr val="FFFFFF"/>
              </a:solidFill>
            </a:endParaRPr>
          </a:p>
        </p:txBody>
      </p:sp>
      <p:sp>
        <p:nvSpPr>
          <p:cNvPr id="17" name="Text Placeholder 16"/>
          <p:cNvSpPr>
            <a:spLocks noGrp="1"/>
          </p:cNvSpPr>
          <p:nvPr>
            <p:ph type="body" sz="quarter" idx="13" hasCustomPrompt="1"/>
          </p:nvPr>
        </p:nvSpPr>
        <p:spPr>
          <a:xfrm>
            <a:off x="814028" y="1233376"/>
            <a:ext cx="1942239" cy="1441451"/>
          </a:xfrm>
        </p:spPr>
        <p:txBody>
          <a:bodyPr>
            <a:noAutofit/>
          </a:bodyPr>
          <a:lstStyle>
            <a:lvl1pPr marL="0" indent="0">
              <a:buFontTx/>
              <a:buNone/>
              <a:defRPr lang="pt-PT" sz="9601"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pic>
        <p:nvPicPr>
          <p:cNvPr id="11" name="Imag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18355" y="6090242"/>
            <a:ext cx="784624" cy="532227"/>
          </a:xfrm>
          <a:prstGeom prst="rect">
            <a:avLst/>
          </a:prstGeom>
        </p:spPr>
      </p:pic>
      <p:sp>
        <p:nvSpPr>
          <p:cNvPr id="6" name="Espace réservé de la date 5"/>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407056092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pic>
        <p:nvPicPr>
          <p:cNvPr id="2052" name="Picture 4" descr="Résultat de recherche d'images pour &quot;tool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06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0454169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8991378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Tree>
    <p:extLst>
      <p:ext uri="{BB962C8B-B14F-4D97-AF65-F5344CB8AC3E}">
        <p14:creationId xmlns:p14="http://schemas.microsoft.com/office/powerpoint/2010/main" val="315188101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ercalaire 3">
    <p:spTree>
      <p:nvGrpSpPr>
        <p:cNvPr id="1" name=""/>
        <p:cNvGrpSpPr/>
        <p:nvPr/>
      </p:nvGrpSpPr>
      <p:grpSpPr>
        <a:xfrm>
          <a:off x="0" y="0"/>
          <a:ext cx="0" cy="0"/>
          <a:chOff x="0" y="0"/>
          <a:chExt cx="0" cy="0"/>
        </a:xfrm>
      </p:grpSpPr>
      <p:pic>
        <p:nvPicPr>
          <p:cNvPr id="3076" name="Picture 4" descr="Résultat de recherche d'images pour &quot;learning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201008830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calaire 4">
    <p:spTree>
      <p:nvGrpSpPr>
        <p:cNvPr id="1" name=""/>
        <p:cNvGrpSpPr/>
        <p:nvPr/>
      </p:nvGrpSpPr>
      <p:grpSpPr>
        <a:xfrm>
          <a:off x="0" y="0"/>
          <a:ext cx="0" cy="0"/>
          <a:chOff x="0" y="0"/>
          <a:chExt cx="0" cy="0"/>
        </a:xfrm>
      </p:grpSpPr>
      <p:pic>
        <p:nvPicPr>
          <p:cNvPr id="5124" name="Picture 4" descr="Résultat de recherche d'images pour &quot;construction picture&quot;"/>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2"/>
            <a:ext cx="9911321" cy="685800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838575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ercalaire 5">
    <p:spTree>
      <p:nvGrpSpPr>
        <p:cNvPr id="1" name=""/>
        <p:cNvGrpSpPr/>
        <p:nvPr/>
      </p:nvGrpSpPr>
      <p:grpSpPr>
        <a:xfrm>
          <a:off x="0" y="0"/>
          <a:ext cx="0" cy="0"/>
          <a:chOff x="0" y="0"/>
          <a:chExt cx="0" cy="0"/>
        </a:xfrm>
      </p:grpSpPr>
      <p:pic>
        <p:nvPicPr>
          <p:cNvPr id="6146" name="Picture 2" descr="Résultat de recherche d'images pour &quot;conclusion pictures&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92977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97105520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calaire 6">
    <p:spTree>
      <p:nvGrpSpPr>
        <p:cNvPr id="1" name=""/>
        <p:cNvGrpSpPr/>
        <p:nvPr/>
      </p:nvGrpSpPr>
      <p:grpSpPr>
        <a:xfrm>
          <a:off x="0" y="0"/>
          <a:ext cx="0" cy="0"/>
          <a:chOff x="0" y="0"/>
          <a:chExt cx="0" cy="0"/>
        </a:xfrm>
      </p:grpSpPr>
      <p:pic>
        <p:nvPicPr>
          <p:cNvPr id="3074" name="Picture 2" descr="Résultat de recherche d'images pour &quot;map compass picture&quot;"/>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0351192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ercalaire 7">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0697697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Intercalaire 7">
    <p:spTree>
      <p:nvGrpSpPr>
        <p:cNvPr id="1" name=""/>
        <p:cNvGrpSpPr/>
        <p:nvPr/>
      </p:nvGrpSpPr>
      <p:grpSpPr>
        <a:xfrm>
          <a:off x="0" y="0"/>
          <a:ext cx="0" cy="0"/>
          <a:chOff x="0" y="0"/>
          <a:chExt cx="0" cy="0"/>
        </a:xfrm>
      </p:grpSpPr>
      <p:pic>
        <p:nvPicPr>
          <p:cNvPr id="2050" name="Picture 2" descr="Résultat de recherche d'images pour &quot;monitoring picture&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
          <a:stretch/>
        </p:blipFill>
        <p:spPr bwMode="auto">
          <a:xfrm>
            <a:off x="0" y="0"/>
            <a:ext cx="9900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0"/>
            <a:ext cx="3671688" cy="6858000"/>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386689322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calaire 8">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78234860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ercalaire 9">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a:solidFill>
                  <a:schemeClr val="bg1"/>
                </a:solidFill>
                <a:latin typeface="+mn-lt"/>
              </a:defRPr>
            </a:lvl1pPr>
          </a:lstStyle>
          <a:p>
            <a:r>
              <a:rPr lang="fr-FR"/>
              <a:t>CLIQUEZ POUR AJOUTER UN TITRE</a:t>
            </a:r>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4956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ercalaire 10">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398392115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ercalaire 11">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1254555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sous-titre">
    <p:spTree>
      <p:nvGrpSpPr>
        <p:cNvPr id="1" name=""/>
        <p:cNvGrpSpPr/>
        <p:nvPr/>
      </p:nvGrpSpPr>
      <p:grpSpPr>
        <a:xfrm>
          <a:off x="0" y="0"/>
          <a:ext cx="0" cy="0"/>
          <a:chOff x="0" y="0"/>
          <a:chExt cx="0" cy="0"/>
        </a:xfrm>
      </p:grpSpPr>
      <p:sp>
        <p:nvSpPr>
          <p:cNvPr id="2"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3" name="Content Placeholder 2"/>
          <p:cNvSpPr>
            <a:spLocks noGrp="1"/>
          </p:cNvSpPr>
          <p:nvPr>
            <p:ph idx="1"/>
          </p:nvPr>
        </p:nvSpPr>
        <p:spPr>
          <a:xfrm>
            <a:off x="619432" y="1638299"/>
            <a:ext cx="8614721" cy="484032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Tree>
    <p:extLst>
      <p:ext uri="{BB962C8B-B14F-4D97-AF65-F5344CB8AC3E}">
        <p14:creationId xmlns:p14="http://schemas.microsoft.com/office/powerpoint/2010/main" val="40485317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ercalaire 12">
    <p:spTree>
      <p:nvGrpSpPr>
        <p:cNvPr id="1" name=""/>
        <p:cNvGrpSpPr/>
        <p:nvPr/>
      </p:nvGrpSpPr>
      <p:grpSpPr>
        <a:xfrm>
          <a:off x="0" y="0"/>
          <a:ext cx="0" cy="0"/>
          <a:chOff x="0" y="0"/>
          <a:chExt cx="0" cy="0"/>
        </a:xfrm>
      </p:grpSpPr>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60" y="0"/>
            <a:ext cx="9903279" cy="6858000"/>
          </a:xfrm>
          <a:prstGeom prst="rect">
            <a:avLst/>
          </a:prstGeom>
        </p:spPr>
      </p:pic>
      <p:sp>
        <p:nvSpPr>
          <p:cNvPr id="4" name="Slide Number Placeholder 3"/>
          <p:cNvSpPr>
            <a:spLocks noGrp="1"/>
          </p:cNvSpPr>
          <p:nvPr>
            <p:ph type="sldNum" sz="quarter" idx="12"/>
          </p:nvPr>
        </p:nvSpPr>
        <p:spPr/>
        <p:txBody>
          <a:bodyPr/>
          <a:lstStyle/>
          <a:p>
            <a:fld id="{95D1AE67-A6AF-4140-9B54-D4B451EC2AAF}" type="slidenum">
              <a:rPr lang="fr-FR" smtClean="0"/>
              <a:t>‹N°›</a:t>
            </a:fld>
            <a:endParaRPr lang="fr-FR"/>
          </a:p>
        </p:txBody>
      </p:sp>
      <p:sp>
        <p:nvSpPr>
          <p:cNvPr id="5" name="Rectangle 4"/>
          <p:cNvSpPr/>
          <p:nvPr userDrawn="1"/>
        </p:nvSpPr>
        <p:spPr>
          <a:xfrm>
            <a:off x="673862" y="-1"/>
            <a:ext cx="3671688" cy="6858001"/>
          </a:xfrm>
          <a:prstGeom prst="rect">
            <a:avLst/>
          </a:prstGeom>
          <a:solidFill>
            <a:srgbClr val="101828">
              <a:alpha val="91765"/>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5">
              <a:solidFill>
                <a:srgbClr val="FFFFFF"/>
              </a:solidFill>
            </a:endParaRPr>
          </a:p>
        </p:txBody>
      </p:sp>
      <p:sp>
        <p:nvSpPr>
          <p:cNvPr id="7" name="Text Placeholder 16"/>
          <p:cNvSpPr>
            <a:spLocks noGrp="1"/>
          </p:cNvSpPr>
          <p:nvPr>
            <p:ph type="body" sz="quarter" idx="13" hasCustomPrompt="1"/>
          </p:nvPr>
        </p:nvSpPr>
        <p:spPr>
          <a:xfrm>
            <a:off x="814027" y="1233376"/>
            <a:ext cx="1942239" cy="1441451"/>
          </a:xfrm>
        </p:spPr>
        <p:txBody>
          <a:bodyPr>
            <a:noAutofit/>
          </a:bodyPr>
          <a:lstStyle>
            <a:lvl1pPr marL="0" indent="0">
              <a:buFontTx/>
              <a:buNone/>
              <a:defRPr lang="pt-PT" sz="9600" kern="1200" dirty="0" smtClean="0">
                <a:solidFill>
                  <a:schemeClr val="accent1"/>
                </a:solidFill>
                <a:latin typeface="Calibri" charset="0"/>
                <a:ea typeface="ＭＳ Ｐゴシック" charset="0"/>
                <a:cs typeface="ＭＳ Ｐゴシック" charset="0"/>
              </a:defRPr>
            </a:lvl1pPr>
          </a:lstStyle>
          <a:p>
            <a:pPr lvl="0" algn="l" rtl="0" fontAlgn="base" hangingPunct="0">
              <a:spcBef>
                <a:spcPct val="0"/>
              </a:spcBef>
              <a:spcAft>
                <a:spcPct val="0"/>
              </a:spcAft>
            </a:pPr>
            <a:r>
              <a:rPr lang="pt-PT"/>
              <a:t>01</a:t>
            </a:r>
          </a:p>
        </p:txBody>
      </p:sp>
      <p:sp>
        <p:nvSpPr>
          <p:cNvPr id="8" name="Titre 7"/>
          <p:cNvSpPr>
            <a:spLocks noGrp="1"/>
          </p:cNvSpPr>
          <p:nvPr>
            <p:ph type="title" hasCustomPrompt="1"/>
          </p:nvPr>
        </p:nvSpPr>
        <p:spPr>
          <a:xfrm>
            <a:off x="814027" y="2806652"/>
            <a:ext cx="3249033" cy="3027911"/>
          </a:xfrm>
        </p:spPr>
        <p:txBody>
          <a:bodyPr anchor="t">
            <a:normAutofit/>
          </a:bodyPr>
          <a:lstStyle>
            <a:lvl1pPr>
              <a:lnSpc>
                <a:spcPct val="80000"/>
              </a:lnSpc>
              <a:defRPr sz="3600" b="0" baseline="0">
                <a:solidFill>
                  <a:schemeClr val="bg1"/>
                </a:solidFill>
                <a:latin typeface="+mn-lt"/>
              </a:defRPr>
            </a:lvl1pPr>
          </a:lstStyle>
          <a:p>
            <a:r>
              <a:rPr lang="fr-FR"/>
              <a:t>CLIQUEZ POUR AJOUTER UN TITRE</a:t>
            </a:r>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40" y="6089653"/>
            <a:ext cx="784193" cy="552923"/>
          </a:xfrm>
          <a:prstGeom prst="rect">
            <a:avLst/>
          </a:prstGeom>
        </p:spPr>
      </p:pic>
    </p:spTree>
    <p:extLst>
      <p:ext uri="{BB962C8B-B14F-4D97-AF65-F5344CB8AC3E}">
        <p14:creationId xmlns:p14="http://schemas.microsoft.com/office/powerpoint/2010/main" val="152068467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en-US">
              <a:solidFill>
                <a:srgbClr val="5C5C5C">
                  <a:lumMod val="60000"/>
                  <a:lumOff val="40000"/>
                </a:srgbClr>
              </a:solidFill>
            </a:endParaRPr>
          </a:p>
        </p:txBody>
      </p:sp>
      <p:sp>
        <p:nvSpPr>
          <p:cNvPr id="4" name="Espace réservé du numéro de diapositive 3"/>
          <p:cNvSpPr>
            <a:spLocks noGrp="1"/>
          </p:cNvSpPr>
          <p:nvPr>
            <p:ph type="sldNum" sz="quarter" idx="11"/>
          </p:nvPr>
        </p:nvSpPr>
        <p:spPr/>
        <p:txBody>
          <a:bodyPr/>
          <a:lstStyle/>
          <a:p>
            <a:fld id="{DAAF52A2-F75A-4940-9AD6-D5031E7C29D7}" type="slidenum">
              <a:rPr lang="fr-FR" smtClean="0">
                <a:solidFill>
                  <a:srgbClr val="FFFFFF"/>
                </a:solidFill>
              </a:rPr>
              <a:pPr/>
              <a:t>‹N°›</a:t>
            </a:fld>
            <a:endParaRPr lang="fr-FR">
              <a:solidFill>
                <a:srgbClr val="FFFFFF"/>
              </a:solidFill>
            </a:endParaRPr>
          </a:p>
        </p:txBody>
      </p:sp>
      <p:sp>
        <p:nvSpPr>
          <p:cNvPr id="5" name="Titre 4"/>
          <p:cNvSpPr>
            <a:spLocks noGrp="1"/>
          </p:cNvSpPr>
          <p:nvPr>
            <p:ph type="title"/>
          </p:nvPr>
        </p:nvSpPr>
        <p:spPr/>
        <p:txBody>
          <a:bodyPr/>
          <a:lstStyle/>
          <a:p>
            <a:r>
              <a:rPr lang="fr-FR"/>
              <a:t>Modifiez le style du titre</a:t>
            </a:r>
          </a:p>
        </p:txBody>
      </p:sp>
      <p:sp>
        <p:nvSpPr>
          <p:cNvPr id="6" name="Content Placeholder 2"/>
          <p:cNvSpPr>
            <a:spLocks noGrp="1"/>
          </p:cNvSpPr>
          <p:nvPr>
            <p:ph sz="quarter" idx="12" hasCustomPrompt="1"/>
          </p:nvPr>
        </p:nvSpPr>
        <p:spPr>
          <a:xfrm>
            <a:off x="630863" y="917918"/>
            <a:ext cx="8614737" cy="609600"/>
          </a:xfrm>
        </p:spPr>
        <p:txBody>
          <a:bodyPr>
            <a:noAutofit/>
          </a:bodyPr>
          <a:lstStyle>
            <a:lvl1pPr marL="0" indent="0">
              <a:buFontTx/>
              <a:buNone/>
              <a:defRPr sz="2000" b="1">
                <a:solidFill>
                  <a:srgbClr val="303F48"/>
                </a:solidFill>
              </a:defRPr>
            </a:lvl1pPr>
            <a:lvl2pPr>
              <a:defRPr sz="2000">
                <a:solidFill>
                  <a:schemeClr val="bg2"/>
                </a:solidFill>
              </a:defRPr>
            </a:lvl2pPr>
            <a:lvl3pPr>
              <a:defRPr sz="2000">
                <a:solidFill>
                  <a:schemeClr val="bg2"/>
                </a:solidFill>
              </a:defRPr>
            </a:lvl3pPr>
            <a:lvl4pPr>
              <a:defRPr sz="2000">
                <a:solidFill>
                  <a:schemeClr val="bg2"/>
                </a:solidFill>
              </a:defRPr>
            </a:lvl4pPr>
            <a:lvl5pPr>
              <a:defRPr sz="2000">
                <a:solidFill>
                  <a:schemeClr val="bg2"/>
                </a:solidFill>
              </a:defRPr>
            </a:lvl5pPr>
          </a:lstStyle>
          <a:p>
            <a:pPr lvl="0"/>
            <a:r>
              <a:rPr lang="pt-PT"/>
              <a:t>Cliquez pour ajouter du texte</a:t>
            </a:r>
          </a:p>
        </p:txBody>
      </p:sp>
      <p:sp>
        <p:nvSpPr>
          <p:cNvPr id="11" name="Espace réservé du texte 9"/>
          <p:cNvSpPr>
            <a:spLocks noGrp="1"/>
          </p:cNvSpPr>
          <p:nvPr>
            <p:ph type="body" sz="quarter" idx="13"/>
          </p:nvPr>
        </p:nvSpPr>
        <p:spPr>
          <a:xfrm>
            <a:off x="630862" y="1534510"/>
            <a:ext cx="8602037" cy="482501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4"/>
          </p:nvPr>
        </p:nvSpPr>
        <p:spPr/>
        <p:txBody>
          <a:bodyPr/>
          <a:lstStyle/>
          <a:p>
            <a:endParaRPr lang="fr-FR"/>
          </a:p>
        </p:txBody>
      </p:sp>
    </p:spTree>
    <p:extLst>
      <p:ext uri="{BB962C8B-B14F-4D97-AF65-F5344CB8AC3E}">
        <p14:creationId xmlns:p14="http://schemas.microsoft.com/office/powerpoint/2010/main" val="39829370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4" name="Rectangle 34"/>
          <p:cNvSpPr>
            <a:spLocks noGrp="1" noChangeArrowheads="1"/>
          </p:cNvSpPr>
          <p:nvPr>
            <p:ph type="ftr" sz="quarter" idx="11"/>
          </p:nvPr>
        </p:nvSpPr>
        <p:spPr>
          <a:xfrm>
            <a:off x="1754644" y="6453336"/>
            <a:ext cx="7644475" cy="246510"/>
          </a:xfrm>
          <a:prstGeom prst="rect">
            <a:avLst/>
          </a:prstGeom>
          <a:ln/>
        </p:spPr>
        <p:txBody>
          <a:bodyPr/>
          <a:lstStyle>
            <a:lvl1pPr>
              <a:defRPr sz="800"/>
            </a:lvl1pPr>
          </a:lstStyle>
          <a:p>
            <a:pPr>
              <a:defRPr/>
            </a:pPr>
            <a:endParaRPr lang="fr-FR"/>
          </a:p>
        </p:txBody>
      </p:sp>
      <p:sp>
        <p:nvSpPr>
          <p:cNvPr id="5" name="Rectangle 35"/>
          <p:cNvSpPr>
            <a:spLocks noGrp="1" noChangeArrowheads="1"/>
          </p:cNvSpPr>
          <p:nvPr>
            <p:ph type="sldNum" sz="quarter" idx="12"/>
          </p:nvPr>
        </p:nvSpPr>
        <p:spPr>
          <a:ln/>
        </p:spPr>
        <p:txBody>
          <a:bodyPr/>
          <a:lstStyle>
            <a:lvl1pPr>
              <a:defRPr>
                <a:solidFill>
                  <a:srgbClr val="FF0000"/>
                </a:solidFill>
              </a:defRPr>
            </a:lvl1pPr>
          </a:lstStyle>
          <a:p>
            <a:pPr>
              <a:defRPr/>
            </a:pPr>
            <a:fld id="{8ABC9975-821D-4EB4-B2A9-344FC2C4C635}" type="slidenum">
              <a:rPr lang="fr-FR" smtClean="0"/>
              <a:pPr>
                <a:defRPr/>
              </a:pPr>
              <a:t>‹N°›</a:t>
            </a:fld>
            <a:endParaRPr lang="fr-FR"/>
          </a:p>
        </p:txBody>
      </p:sp>
    </p:spTree>
    <p:extLst>
      <p:ext uri="{BB962C8B-B14F-4D97-AF65-F5344CB8AC3E}">
        <p14:creationId xmlns:p14="http://schemas.microsoft.com/office/powerpoint/2010/main" val="2837648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5"/>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5"/>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23392" y="1494770"/>
            <a:ext cx="9582608"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66079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2290763" y="1464240"/>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pic>
        <p:nvPicPr>
          <p:cNvPr id="12" name="Graphique 11">
            <a:extLst>
              <a:ext uri="{FF2B5EF4-FFF2-40B4-BE49-F238E27FC236}">
                <a16:creationId xmlns:a16="http://schemas.microsoft.com/office/drawing/2014/main" id="{F66D9963-BDB2-4715-A1D1-F4032037AAD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9078" y="1315988"/>
            <a:ext cx="913210" cy="1123951"/>
          </a:xfrm>
          <a:prstGeom prst="rect">
            <a:avLst/>
          </a:prstGeom>
        </p:spPr>
      </p:pic>
    </p:spTree>
    <p:extLst>
      <p:ext uri="{BB962C8B-B14F-4D97-AF65-F5344CB8AC3E}">
        <p14:creationId xmlns:p14="http://schemas.microsoft.com/office/powerpoint/2010/main" val="6866632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1097"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noProof="0"/>
              </a:p>
            </p:txBody>
          </p:sp>
        </p:grpSp>
      </p:grpSp>
      <p:sp>
        <p:nvSpPr>
          <p:cNvPr id="28" name="object 7">
            <a:extLst>
              <a:ext uri="{FF2B5EF4-FFF2-40B4-BE49-F238E27FC236}">
                <a16:creationId xmlns:a16="http://schemas.microsoft.com/office/drawing/2014/main" id="{29822F41-3E84-4E9E-9116-6C25F75AAF11}"/>
              </a:ext>
            </a:extLst>
          </p:cNvPr>
          <p:cNvSpPr/>
          <p:nvPr/>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1097" noProof="0"/>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sp>
        <p:nvSpPr>
          <p:cNvPr id="5" name="bg object 20">
            <a:extLst>
              <a:ext uri="{FF2B5EF4-FFF2-40B4-BE49-F238E27FC236}">
                <a16:creationId xmlns:a16="http://schemas.microsoft.com/office/drawing/2014/main" id="{A151CB84-5005-40BA-BAF1-E69C66FDC882}"/>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546103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2"/>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1097"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12" name="object 5">
            <a:extLst>
              <a:ext uri="{FF2B5EF4-FFF2-40B4-BE49-F238E27FC236}">
                <a16:creationId xmlns:a16="http://schemas.microsoft.com/office/drawing/2014/main" id="{8F84A533-D15F-4251-B825-30C4967127B7}"/>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14" name="object 6">
            <a:extLst>
              <a:ext uri="{FF2B5EF4-FFF2-40B4-BE49-F238E27FC236}">
                <a16:creationId xmlns:a16="http://schemas.microsoft.com/office/drawing/2014/main" id="{5815314C-9423-41A5-BEA4-E339EE8896A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7"/>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45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0"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653"/>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5"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fr-FR"/>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1688072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5"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5"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0" y="170559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0" y="324441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5"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0" y="478323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fr-FR"/>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03621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5"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5"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5"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5"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0" y="170834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0" y="2668416"/>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0" y="3626025"/>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0" y="4583634"/>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5"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2"/>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0" y="5540801"/>
            <a:ext cx="3412926" cy="248451"/>
          </a:xfrm>
        </p:spPr>
        <p:txBody>
          <a:bodyPr wrap="square" tIns="14400" anchor="b">
            <a:spAutoFit/>
          </a:bodyPr>
          <a:lstStyle>
            <a:lvl1pPr marL="8775">
              <a:spcBef>
                <a:spcPts val="61"/>
              </a:spcBef>
              <a:defRPr sz="1523"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fr-FR"/>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401769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 graphiqu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8" name="Espace réservé du graphique 7"/>
          <p:cNvSpPr>
            <a:spLocks noGrp="1"/>
          </p:cNvSpPr>
          <p:nvPr>
            <p:ph type="chart" sz="quarter" idx="14"/>
          </p:nvPr>
        </p:nvSpPr>
        <p:spPr>
          <a:xfrm>
            <a:off x="5314950" y="1638300"/>
            <a:ext cx="4119563" cy="4397375"/>
          </a:xfrm>
        </p:spPr>
        <p:txBody>
          <a:bodyPr/>
          <a:lstStyle/>
          <a:p>
            <a:r>
              <a:rPr lang="fr-FR"/>
              <a:t>Cliquez sur l'icône pour ajouter un graphi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Tree>
    <p:extLst>
      <p:ext uri="{BB962C8B-B14F-4D97-AF65-F5344CB8AC3E}">
        <p14:creationId xmlns:p14="http://schemas.microsoft.com/office/powerpoint/2010/main" val="38061294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2767930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733311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fr-FR"/>
          </a:p>
        </p:txBody>
      </p:sp>
    </p:spTree>
    <p:extLst>
      <p:ext uri="{BB962C8B-B14F-4D97-AF65-F5344CB8AC3E}">
        <p14:creationId xmlns:p14="http://schemas.microsoft.com/office/powerpoint/2010/main" val="35781636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4"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714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6" name="object 9">
            <a:extLst>
              <a:ext uri="{FF2B5EF4-FFF2-40B4-BE49-F238E27FC236}">
                <a16:creationId xmlns:a16="http://schemas.microsoft.com/office/drawing/2014/main" id="{CD658198-6E69-4296-BD01-49F0474343E5}"/>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1097"/>
          </a:p>
        </p:txBody>
      </p:sp>
      <p:sp>
        <p:nvSpPr>
          <p:cNvPr id="7" name="object 10">
            <a:extLst>
              <a:ext uri="{FF2B5EF4-FFF2-40B4-BE49-F238E27FC236}">
                <a16:creationId xmlns:a16="http://schemas.microsoft.com/office/drawing/2014/main" id="{76A93DBD-7AD0-4E6B-85F7-D5A7E6BA4DEB}"/>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1097"/>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27020445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38"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fr-FR"/>
          </a:p>
        </p:txBody>
      </p:sp>
      <p:sp>
        <p:nvSpPr>
          <p:cNvPr id="5" name="object 8">
            <a:extLst>
              <a:ext uri="{FF2B5EF4-FFF2-40B4-BE49-F238E27FC236}">
                <a16:creationId xmlns:a16="http://schemas.microsoft.com/office/drawing/2014/main" id="{9EE1458B-1ACC-4A60-A6DA-3A183AD4A703}"/>
              </a:ext>
            </a:extLst>
          </p:cNvPr>
          <p:cNvSpPr/>
          <p:nvPr/>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1097"/>
          </a:p>
        </p:txBody>
      </p:sp>
      <p:sp>
        <p:nvSpPr>
          <p:cNvPr id="6" name="object 9">
            <a:extLst>
              <a:ext uri="{FF2B5EF4-FFF2-40B4-BE49-F238E27FC236}">
                <a16:creationId xmlns:a16="http://schemas.microsoft.com/office/drawing/2014/main" id="{C14AF817-4FA3-4511-BF85-552078C6E679}"/>
              </a:ext>
            </a:extLst>
          </p:cNvPr>
          <p:cNvSpPr/>
          <p:nvPr/>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1097"/>
          </a:p>
        </p:txBody>
      </p:sp>
      <p:sp>
        <p:nvSpPr>
          <p:cNvPr id="7" name="object 10">
            <a:extLst>
              <a:ext uri="{FF2B5EF4-FFF2-40B4-BE49-F238E27FC236}">
                <a16:creationId xmlns:a16="http://schemas.microsoft.com/office/drawing/2014/main" id="{C87F872C-9C1D-4419-83CD-C89DB3A9AD0E}"/>
              </a:ext>
            </a:extLst>
          </p:cNvPr>
          <p:cNvSpPr/>
          <p:nvPr/>
        </p:nvSpPr>
        <p:spPr>
          <a:xfrm>
            <a:off x="8791576"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1097"/>
          </a:p>
        </p:txBody>
      </p:sp>
    </p:spTree>
    <p:extLst>
      <p:ext uri="{BB962C8B-B14F-4D97-AF65-F5344CB8AC3E}">
        <p14:creationId xmlns:p14="http://schemas.microsoft.com/office/powerpoint/2010/main" val="349018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2650152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1" indent="-120656">
              <a:buClr>
                <a:schemeClr val="tx2"/>
              </a:buClr>
              <a:buFont typeface="Wingdings" panose="05000000000000000000" pitchFamily="2" charset="2"/>
              <a:buChar char="§"/>
              <a:tabLst/>
              <a:defRPr/>
            </a:lvl1pPr>
            <a:lvl2pPr marL="175500" indent="-120656">
              <a:buFont typeface="Wingdings" panose="05000000000000000000" pitchFamily="2" charset="2"/>
              <a:buChar char="§"/>
              <a:defRPr/>
            </a:lvl2pPr>
            <a:lvl3pPr marL="241313" indent="-119956">
              <a:buClr>
                <a:srgbClr val="005473"/>
              </a:buClr>
              <a:buFont typeface="Wingdings" panose="05000000000000000000" pitchFamily="2" charset="2"/>
              <a:buChar char="§"/>
              <a:defRPr/>
            </a:lvl3pPr>
            <a:lvl4pPr marL="307125" indent="-109688">
              <a:defRPr sz="914">
                <a:solidFill>
                  <a:schemeClr val="tx2"/>
                </a:solidFill>
              </a:defRPr>
            </a:lvl4pPr>
            <a:lvl5pPr marL="372938" indent="-120656">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612684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2"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292354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6" y="1989474"/>
            <a:ext cx="2566789" cy="1422106"/>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fr-FR"/>
          </a:p>
        </p:txBody>
      </p:sp>
    </p:spTree>
    <p:extLst>
      <p:ext uri="{BB962C8B-B14F-4D97-AF65-F5344CB8AC3E}">
        <p14:creationId xmlns:p14="http://schemas.microsoft.com/office/powerpoint/2010/main" val="3022849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9432" y="1638299"/>
            <a:ext cx="4533481" cy="4840321"/>
          </a:xfrm>
        </p:spPr>
        <p:txBody>
          <a:bodyPr/>
          <a:lstStyle>
            <a:lvl4pPr>
              <a:defRPr>
                <a:solidFill>
                  <a:schemeClr val="accent3"/>
                </a:solidFill>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Espace réservé du texte 8"/>
          <p:cNvSpPr>
            <a:spLocks noGrp="1"/>
          </p:cNvSpPr>
          <p:nvPr>
            <p:ph type="body" sz="quarter" idx="13"/>
          </p:nvPr>
        </p:nvSpPr>
        <p:spPr>
          <a:xfrm>
            <a:off x="619126" y="987228"/>
            <a:ext cx="8615028" cy="651072"/>
          </a:xfrm>
        </p:spPr>
        <p:txBody>
          <a:bodyPr>
            <a:normAutofit/>
          </a:bodyPr>
          <a:lstStyle>
            <a:lvl1pPr marL="0" indent="0">
              <a:lnSpc>
                <a:spcPct val="80000"/>
              </a:lnSpc>
              <a:buFontTx/>
              <a:buNone/>
              <a:defRPr sz="2200" b="1" i="1"/>
            </a:lvl1pPr>
          </a:lstStyle>
          <a:p>
            <a:pPr lvl="0"/>
            <a:r>
              <a:rPr lang="fr-FR"/>
              <a:t>Modifiez les styles du texte du masque</a:t>
            </a:r>
          </a:p>
        </p:txBody>
      </p:sp>
      <p:sp>
        <p:nvSpPr>
          <p:cNvPr id="11" name="Title 1"/>
          <p:cNvSpPr>
            <a:spLocks noGrp="1"/>
          </p:cNvSpPr>
          <p:nvPr>
            <p:ph type="title"/>
          </p:nvPr>
        </p:nvSpPr>
        <p:spPr>
          <a:xfrm>
            <a:off x="619432" y="540213"/>
            <a:ext cx="8614721" cy="443198"/>
          </a:xfrm>
        </p:spPr>
        <p:txBody>
          <a:bodyPr tIns="0" bIns="0" anchor="b">
            <a:spAutoFit/>
          </a:bodyPr>
          <a:lstStyle/>
          <a:p>
            <a:r>
              <a:rPr lang="fr-FR"/>
              <a:t>Modifiez le style du titre</a:t>
            </a:r>
            <a:endParaRPr lang="en-US"/>
          </a:p>
        </p:txBody>
      </p:sp>
      <p:sp>
        <p:nvSpPr>
          <p:cNvPr id="12" name="Espace réservé pour une image  6"/>
          <p:cNvSpPr>
            <a:spLocks noGrp="1"/>
          </p:cNvSpPr>
          <p:nvPr>
            <p:ph type="pic" sz="quarter" idx="15"/>
          </p:nvPr>
        </p:nvSpPr>
        <p:spPr>
          <a:xfrm>
            <a:off x="5314950" y="1648028"/>
            <a:ext cx="4119563" cy="4397375"/>
          </a:xfrm>
        </p:spPr>
        <p:txBody>
          <a:bodyPr/>
          <a:lstStyle/>
          <a:p>
            <a:r>
              <a:rPr lang="fr-FR"/>
              <a:t>Cliquez sur l'icône pour ajouter une image</a:t>
            </a:r>
          </a:p>
        </p:txBody>
      </p:sp>
    </p:spTree>
    <p:extLst>
      <p:ext uri="{BB962C8B-B14F-4D97-AF65-F5344CB8AC3E}">
        <p14:creationId xmlns:p14="http://schemas.microsoft.com/office/powerpoint/2010/main" val="30214143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fr-FR"/>
          </a:p>
        </p:txBody>
      </p:sp>
    </p:spTree>
    <p:extLst>
      <p:ext uri="{BB962C8B-B14F-4D97-AF65-F5344CB8AC3E}">
        <p14:creationId xmlns:p14="http://schemas.microsoft.com/office/powerpoint/2010/main" val="15261672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4" y="697702"/>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4" y="1989474"/>
            <a:ext cx="4039791"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423581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1"/>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7579949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4" y="697702"/>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1310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1097"/>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6" y="2743201"/>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fr-FR"/>
          </a:p>
        </p:txBody>
      </p:sp>
    </p:spTree>
    <p:extLst>
      <p:ext uri="{BB962C8B-B14F-4D97-AF65-F5344CB8AC3E}">
        <p14:creationId xmlns:p14="http://schemas.microsoft.com/office/powerpoint/2010/main" val="84835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1097"/>
          </a:p>
        </p:txBody>
      </p:sp>
      <p:sp>
        <p:nvSpPr>
          <p:cNvPr id="4" name="object 10">
            <a:extLst>
              <a:ext uri="{FF2B5EF4-FFF2-40B4-BE49-F238E27FC236}">
                <a16:creationId xmlns:a16="http://schemas.microsoft.com/office/drawing/2014/main" id="{3EC24377-EFF4-42AC-8D18-062DAB804EFF}"/>
              </a:ext>
            </a:extLst>
          </p:cNvPr>
          <p:cNvSpPr/>
          <p:nvPr/>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1097"/>
          </a:p>
        </p:txBody>
      </p:sp>
      <p:sp>
        <p:nvSpPr>
          <p:cNvPr id="5" name="object 11">
            <a:extLst>
              <a:ext uri="{FF2B5EF4-FFF2-40B4-BE49-F238E27FC236}">
                <a16:creationId xmlns:a16="http://schemas.microsoft.com/office/drawing/2014/main" id="{33BA6225-A317-475E-A047-60CD68659F89}"/>
              </a:ext>
            </a:extLst>
          </p:cNvPr>
          <p:cNvSpPr/>
          <p:nvPr/>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1097"/>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38"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7"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7"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fr-FR"/>
          </a:p>
        </p:txBody>
      </p:sp>
    </p:spTree>
    <p:extLst>
      <p:ext uri="{BB962C8B-B14F-4D97-AF65-F5344CB8AC3E}">
        <p14:creationId xmlns:p14="http://schemas.microsoft.com/office/powerpoint/2010/main" val="1359864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p:nvSpPr>
        <p:spPr>
          <a:xfrm>
            <a:off x="8408713"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1097"/>
          </a:p>
        </p:txBody>
      </p:sp>
      <p:sp>
        <p:nvSpPr>
          <p:cNvPr id="6" name="object 8">
            <a:extLst>
              <a:ext uri="{FF2B5EF4-FFF2-40B4-BE49-F238E27FC236}">
                <a16:creationId xmlns:a16="http://schemas.microsoft.com/office/drawing/2014/main" id="{751A90F7-4173-4539-90AE-F4A8B177F34B}"/>
              </a:ext>
            </a:extLst>
          </p:cNvPr>
          <p:cNvSpPr/>
          <p:nvPr/>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1097"/>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1097"/>
          </a:p>
        </p:txBody>
      </p:sp>
      <p:sp>
        <p:nvSpPr>
          <p:cNvPr id="26" name="object 25">
            <a:extLst>
              <a:ext uri="{FF2B5EF4-FFF2-40B4-BE49-F238E27FC236}">
                <a16:creationId xmlns:a16="http://schemas.microsoft.com/office/drawing/2014/main" id="{B878D6D7-A21E-4916-A1DB-9ADACBC53B10}"/>
              </a:ext>
            </a:extLst>
          </p:cNvPr>
          <p:cNvSpPr/>
          <p:nvPr/>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1097"/>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1"/>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4"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7"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fr-FR"/>
          </a:p>
        </p:txBody>
      </p:sp>
    </p:spTree>
    <p:extLst>
      <p:ext uri="{BB962C8B-B14F-4D97-AF65-F5344CB8AC3E}">
        <p14:creationId xmlns:p14="http://schemas.microsoft.com/office/powerpoint/2010/main" val="38615411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2"/>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1097"/>
          </a:p>
        </p:txBody>
      </p:sp>
      <p:grpSp>
        <p:nvGrpSpPr>
          <p:cNvPr id="4" name="Group 3">
            <a:extLst>
              <a:ext uri="{FF2B5EF4-FFF2-40B4-BE49-F238E27FC236}">
                <a16:creationId xmlns:a16="http://schemas.microsoft.com/office/drawing/2014/main" id="{6FA622AA-407E-4F46-953C-4F5CFFF27758}"/>
              </a:ext>
            </a:extLst>
          </p:cNvPr>
          <p:cNvGrpSpPr/>
          <p:nvPr/>
        </p:nvGrpSpPr>
        <p:grpSpPr>
          <a:xfrm>
            <a:off x="7820355" y="5902836"/>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1097"/>
            </a:p>
          </p:txBody>
        </p:sp>
      </p:grpSp>
      <p:grpSp>
        <p:nvGrpSpPr>
          <p:cNvPr id="6" name="Group 5">
            <a:extLst>
              <a:ext uri="{FF2B5EF4-FFF2-40B4-BE49-F238E27FC236}">
                <a16:creationId xmlns:a16="http://schemas.microsoft.com/office/drawing/2014/main" id="{5B1B7B49-0DA0-45B6-8E19-E1D65283D0ED}"/>
              </a:ext>
            </a:extLst>
          </p:cNvPr>
          <p:cNvGrpSpPr/>
          <p:nvPr/>
        </p:nvGrpSpPr>
        <p:grpSpPr>
          <a:xfrm>
            <a:off x="8147749" y="5902836"/>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1097"/>
            </a:p>
          </p:txBody>
        </p:sp>
      </p:grpSp>
      <p:grpSp>
        <p:nvGrpSpPr>
          <p:cNvPr id="28" name="Group 27">
            <a:extLst>
              <a:ext uri="{FF2B5EF4-FFF2-40B4-BE49-F238E27FC236}">
                <a16:creationId xmlns:a16="http://schemas.microsoft.com/office/drawing/2014/main" id="{56C6C106-DE9F-424D-9B9A-C24F893C9D73}"/>
              </a:ext>
            </a:extLst>
          </p:cNvPr>
          <p:cNvGrpSpPr/>
          <p:nvPr/>
        </p:nvGrpSpPr>
        <p:grpSpPr>
          <a:xfrm>
            <a:off x="9129932" y="5902836"/>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1097"/>
            </a:p>
          </p:txBody>
        </p:sp>
      </p:grpSp>
      <p:grpSp>
        <p:nvGrpSpPr>
          <p:cNvPr id="27" name="Group 26">
            <a:extLst>
              <a:ext uri="{FF2B5EF4-FFF2-40B4-BE49-F238E27FC236}">
                <a16:creationId xmlns:a16="http://schemas.microsoft.com/office/drawing/2014/main" id="{3C6C8FFF-8FEA-4190-BEF9-18887051D0DD}"/>
              </a:ext>
            </a:extLst>
          </p:cNvPr>
          <p:cNvGrpSpPr/>
          <p:nvPr/>
        </p:nvGrpSpPr>
        <p:grpSpPr>
          <a:xfrm>
            <a:off x="8802538" y="5902836"/>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1097"/>
            </a:p>
          </p:txBody>
        </p:sp>
      </p:grpSp>
      <p:grpSp>
        <p:nvGrpSpPr>
          <p:cNvPr id="8" name="Group 7">
            <a:extLst>
              <a:ext uri="{FF2B5EF4-FFF2-40B4-BE49-F238E27FC236}">
                <a16:creationId xmlns:a16="http://schemas.microsoft.com/office/drawing/2014/main" id="{59B15965-B2D7-4F16-8E53-EFCD29DF2415}"/>
              </a:ext>
            </a:extLst>
          </p:cNvPr>
          <p:cNvGrpSpPr/>
          <p:nvPr/>
        </p:nvGrpSpPr>
        <p:grpSpPr>
          <a:xfrm>
            <a:off x="8475144" y="5902836"/>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1097"/>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1097"/>
            </a:p>
          </p:txBody>
        </p:sp>
      </p:grpSp>
      <p:sp>
        <p:nvSpPr>
          <p:cNvPr id="30" name="object 8">
            <a:extLst>
              <a:ext uri="{FF2B5EF4-FFF2-40B4-BE49-F238E27FC236}">
                <a16:creationId xmlns:a16="http://schemas.microsoft.com/office/drawing/2014/main" id="{30407C8C-1F92-4D15-91A5-2F39144E61A5}"/>
              </a:ext>
            </a:extLst>
          </p:cNvPr>
          <p:cNvSpPr txBox="1"/>
          <p:nvPr/>
        </p:nvSpPr>
        <p:spPr>
          <a:xfrm>
            <a:off x="7820355" y="5487351"/>
            <a:ext cx="1536558"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1097"/>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1097"/>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1097"/>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7"/>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2731879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7213" y="3713308"/>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5" name="object 13">
            <a:extLst>
              <a:ext uri="{FF2B5EF4-FFF2-40B4-BE49-F238E27FC236}">
                <a16:creationId xmlns:a16="http://schemas.microsoft.com/office/drawing/2014/main" id="{2F0B4D82-3112-41F2-AD2B-0EF2CD0013D4}"/>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7D4A96E6-C3EB-45C1-B3BA-4E240EF4D554}"/>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Tree>
    <p:extLst>
      <p:ext uri="{BB962C8B-B14F-4D97-AF65-F5344CB8AC3E}">
        <p14:creationId xmlns:p14="http://schemas.microsoft.com/office/powerpoint/2010/main" val="42556039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5" name="object 29">
            <a:extLst>
              <a:ext uri="{FF2B5EF4-FFF2-40B4-BE49-F238E27FC236}">
                <a16:creationId xmlns:a16="http://schemas.microsoft.com/office/drawing/2014/main" id="{06CB742D-9F4D-42D3-B49A-F528B3B02573}"/>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9"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75681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e + image">
    <p:spTree>
      <p:nvGrpSpPr>
        <p:cNvPr id="1" name=""/>
        <p:cNvGrpSpPr/>
        <p:nvPr/>
      </p:nvGrpSpPr>
      <p:grpSpPr>
        <a:xfrm>
          <a:off x="0" y="0"/>
          <a:ext cx="0" cy="0"/>
          <a:chOff x="0" y="0"/>
          <a:chExt cx="0" cy="0"/>
        </a:xfrm>
      </p:grpSpPr>
      <p:pic>
        <p:nvPicPr>
          <p:cNvPr id="11" name="Picture 1" descr="Slide_footer_02.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58575"/>
            <a:ext cx="9906000" cy="1799427"/>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8520586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p:nvSpPr>
        <p:spPr>
          <a:xfrm>
            <a:off x="556838" y="5552613"/>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sp>
        <p:nvSpPr>
          <p:cNvPr id="94" name="Freeform: Shape 93">
            <a:extLst>
              <a:ext uri="{FF2B5EF4-FFF2-40B4-BE49-F238E27FC236}">
                <a16:creationId xmlns:a16="http://schemas.microsoft.com/office/drawing/2014/main" id="{476E0276-2192-4BC6-8F70-F1EE82A36BF6}"/>
              </a:ext>
            </a:extLst>
          </p:cNvPr>
          <p:cNvSpPr/>
          <p:nvPr/>
        </p:nvSpPr>
        <p:spPr>
          <a:xfrm>
            <a:off x="884326" y="5552613"/>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97"/>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8"/>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1097"/>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1097"/>
            </a:p>
          </p:txBody>
        </p:sp>
      </p:grpSp>
      <p:sp>
        <p:nvSpPr>
          <p:cNvPr id="51" name="object 5">
            <a:extLst>
              <a:ext uri="{FF2B5EF4-FFF2-40B4-BE49-F238E27FC236}">
                <a16:creationId xmlns:a16="http://schemas.microsoft.com/office/drawing/2014/main" id="{834E675D-8600-4DE1-99EE-C11F03127E1D}"/>
              </a:ext>
            </a:extLst>
          </p:cNvPr>
          <p:cNvSpPr/>
          <p:nvPr/>
        </p:nvSpPr>
        <p:spPr>
          <a:xfrm>
            <a:off x="6005589"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53" name="object 7">
            <a:extLst>
              <a:ext uri="{FF2B5EF4-FFF2-40B4-BE49-F238E27FC236}">
                <a16:creationId xmlns:a16="http://schemas.microsoft.com/office/drawing/2014/main" id="{0FD0DC21-D1DC-424F-A634-BAAECE75093E}"/>
              </a:ext>
            </a:extLst>
          </p:cNvPr>
          <p:cNvSpPr/>
          <p:nvPr/>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1097"/>
          </a:p>
        </p:txBody>
      </p:sp>
      <p:sp>
        <p:nvSpPr>
          <p:cNvPr id="54" name="object 8">
            <a:extLst>
              <a:ext uri="{FF2B5EF4-FFF2-40B4-BE49-F238E27FC236}">
                <a16:creationId xmlns:a16="http://schemas.microsoft.com/office/drawing/2014/main" id="{8B413841-B2AA-4355-A7C7-CEFEBD01FC8E}"/>
              </a:ext>
            </a:extLst>
          </p:cNvPr>
          <p:cNvSpPr/>
          <p:nvPr/>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1097"/>
          </a:p>
        </p:txBody>
      </p:sp>
      <p:sp>
        <p:nvSpPr>
          <p:cNvPr id="81" name="Freeform: Shape 80">
            <a:extLst>
              <a:ext uri="{FF2B5EF4-FFF2-40B4-BE49-F238E27FC236}">
                <a16:creationId xmlns:a16="http://schemas.microsoft.com/office/drawing/2014/main" id="{29DECAC8-71CB-465E-8692-A9FFA0221876}"/>
              </a:ext>
            </a:extLst>
          </p:cNvPr>
          <p:cNvSpPr/>
          <p:nvPr/>
        </p:nvSpPr>
        <p:spPr>
          <a:xfrm>
            <a:off x="1211814" y="5552612"/>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2" name="Freeform: Shape 91">
            <a:extLst>
              <a:ext uri="{FF2B5EF4-FFF2-40B4-BE49-F238E27FC236}">
                <a16:creationId xmlns:a16="http://schemas.microsoft.com/office/drawing/2014/main" id="{F4B6AF33-E409-439A-A4AE-378CE2291372}"/>
              </a:ext>
            </a:extLst>
          </p:cNvPr>
          <p:cNvSpPr/>
          <p:nvPr/>
        </p:nvSpPr>
        <p:spPr>
          <a:xfrm>
            <a:off x="1539302" y="5552612"/>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91" name="Freeform: Shape 90">
            <a:extLst>
              <a:ext uri="{FF2B5EF4-FFF2-40B4-BE49-F238E27FC236}">
                <a16:creationId xmlns:a16="http://schemas.microsoft.com/office/drawing/2014/main" id="{8DAB5BBE-6303-447E-8EA1-1E3F10068624}"/>
              </a:ext>
            </a:extLst>
          </p:cNvPr>
          <p:cNvSpPr/>
          <p:nvPr/>
        </p:nvSpPr>
        <p:spPr>
          <a:xfrm>
            <a:off x="1866791" y="5552612"/>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1097"/>
          </a:p>
        </p:txBody>
      </p:sp>
      <p:sp>
        <p:nvSpPr>
          <p:cNvPr id="17" name="object 5">
            <a:extLst>
              <a:ext uri="{FF2B5EF4-FFF2-40B4-BE49-F238E27FC236}">
                <a16:creationId xmlns:a16="http://schemas.microsoft.com/office/drawing/2014/main" id="{FBBE171D-EA4E-452C-8EBE-60BD260840FF}"/>
              </a:ext>
            </a:extLst>
          </p:cNvPr>
          <p:cNvSpPr/>
          <p:nvPr/>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1097"/>
          </a:p>
        </p:txBody>
      </p:sp>
      <p:sp>
        <p:nvSpPr>
          <p:cNvPr id="18" name="object 13">
            <a:extLst>
              <a:ext uri="{FF2B5EF4-FFF2-40B4-BE49-F238E27FC236}">
                <a16:creationId xmlns:a16="http://schemas.microsoft.com/office/drawing/2014/main" id="{609C26D4-87EE-42AD-8338-D5EE327E9EA9}"/>
              </a:ext>
            </a:extLst>
          </p:cNvPr>
          <p:cNvSpPr txBox="1"/>
          <p:nvPr/>
        </p:nvSpPr>
        <p:spPr>
          <a:xfrm>
            <a:off x="3645099" y="3895726"/>
            <a:ext cx="1245989" cy="215957"/>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p:nvSpPr>
        <p:spPr>
          <a:xfrm>
            <a:off x="549474" y="4791074"/>
            <a:ext cx="4960739" cy="541847"/>
          </a:xfrm>
          <a:prstGeom prst="rect">
            <a:avLst/>
          </a:prstGeom>
        </p:spPr>
        <p:txBody>
          <a:bodyPr vert="horz" wrap="square" lIns="0" tIns="13544" rIns="0" bIns="0" rtlCol="0">
            <a:spAutoFit/>
          </a:bodyPr>
          <a:lstStyle/>
          <a:p>
            <a:pPr marL="8126" marR="3096" indent="-774" algn="just">
              <a:lnSpc>
                <a:spcPct val="100000"/>
              </a:lnSpc>
              <a:spcBef>
                <a:spcPts val="106"/>
              </a:spcBef>
            </a:pPr>
            <a:r>
              <a:rPr sz="853" spc="7"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ESPAGN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BELGI</a:t>
            </a:r>
            <a:r>
              <a:rPr lang="fr-FR" sz="853" spc="7" dirty="0">
                <a:solidFill>
                  <a:srgbClr val="00AC9C"/>
                </a:solidFill>
                <a:latin typeface="Verdana" panose="020B0604030504040204" pitchFamily="34" charset="0"/>
                <a:cs typeface="Poppins"/>
              </a:rPr>
              <a:t>QU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SUISS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7"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7" dirty="0">
                <a:solidFill>
                  <a:srgbClr val="00AC9C"/>
                </a:solidFill>
                <a:latin typeface="Verdana" panose="020B0604030504040204" pitchFamily="34" charset="0"/>
                <a:cs typeface="Poppins"/>
              </a:rPr>
              <a:t>ANGLETERRE</a:t>
            </a:r>
            <a:r>
              <a:rPr sz="853" spc="7"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9"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3673553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5291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5AF90-088B-406A-A347-1CEAF460C847}"/>
              </a:ext>
            </a:extLst>
          </p:cNvPr>
          <p:cNvSpPr>
            <a:spLocks noGrp="1"/>
          </p:cNvSpPr>
          <p:nvPr>
            <p:ph type="ctrTitle"/>
          </p:nvPr>
        </p:nvSpPr>
        <p:spPr>
          <a:xfrm>
            <a:off x="1238250" y="1122363"/>
            <a:ext cx="7429500" cy="2387600"/>
          </a:xfrm>
        </p:spPr>
        <p:txBody>
          <a:bodyPr anchor="b"/>
          <a:lstStyle>
            <a:lvl1pPr algn="ctr">
              <a:defRPr sz="4875"/>
            </a:lvl1pPr>
          </a:lstStyle>
          <a:p>
            <a:r>
              <a:rPr lang="fr-FR"/>
              <a:t>Modifiez le style du titre</a:t>
            </a:r>
          </a:p>
        </p:txBody>
      </p:sp>
      <p:sp>
        <p:nvSpPr>
          <p:cNvPr id="3" name="Sous-titre 2">
            <a:extLst>
              <a:ext uri="{FF2B5EF4-FFF2-40B4-BE49-F238E27FC236}">
                <a16:creationId xmlns:a16="http://schemas.microsoft.com/office/drawing/2014/main" id="{19851DD1-8E70-45BD-968B-901CCAD56FA1}"/>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C678A6D-014D-45AE-A53F-E619B1E3A9D2}"/>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505731E-B934-44E1-A9EA-014FA88AEF9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15F53D8-0A89-4B2F-8FB4-B8D78EFC104B}"/>
              </a:ext>
            </a:extLst>
          </p:cNvPr>
          <p:cNvSpPr>
            <a:spLocks noGrp="1"/>
          </p:cNvSpPr>
          <p:nvPr>
            <p:ph type="sldNum" sz="quarter" idx="12"/>
          </p:nvPr>
        </p:nvSpPr>
        <p:spPr/>
        <p:txBody>
          <a:bodyPr/>
          <a:lstStyle/>
          <a:p>
            <a:fld id="{FD4395A8-AF9B-488E-88F5-09C8DC541A87}" type="slidenum">
              <a:rPr lang="fr-FR" smtClean="0"/>
              <a:t>‹N°›</a:t>
            </a:fld>
            <a:endParaRPr lang="fr-FR"/>
          </a:p>
        </p:txBody>
      </p:sp>
    </p:spTree>
    <p:extLst>
      <p:ext uri="{BB962C8B-B14F-4D97-AF65-F5344CB8AC3E}">
        <p14:creationId xmlns:p14="http://schemas.microsoft.com/office/powerpoint/2010/main" val="29895018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ark Cover ">
    <p:bg>
      <p:bgPr>
        <a:solidFill>
          <a:srgbClr val="222C4A"/>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720065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485900" y="3581017"/>
            <a:ext cx="6934200" cy="530387"/>
          </a:xfrm>
          <a:prstGeom prst="rect">
            <a:avLst/>
          </a:prstGeom>
        </p:spPr>
        <p:txBody>
          <a:bodyPr wrap="square" lIns="0" tIns="14400" rIns="0" bIns="0">
            <a:spAutoFit/>
          </a:bodyPr>
          <a:lstStyle>
            <a:lvl1pPr algn="ctr">
              <a:defRPr sz="3352" b="1">
                <a:solidFill>
                  <a:schemeClr val="accent1"/>
                </a:solidFill>
              </a:defRPr>
            </a:lvl1pPr>
          </a:lstStyle>
          <a:p>
            <a:r>
              <a:rPr lang="en-US" noProof="0" dirty="0"/>
              <a:t>Presentation title</a:t>
            </a:r>
          </a:p>
        </p:txBody>
      </p:sp>
      <p:grpSp>
        <p:nvGrpSpPr>
          <p:cNvPr id="20" name="Graphique 9">
            <a:extLst>
              <a:ext uri="{FF2B5EF4-FFF2-40B4-BE49-F238E27FC236}">
                <a16:creationId xmlns:a16="http://schemas.microsoft.com/office/drawing/2014/main" id="{961BD59A-05B1-4C02-8A81-07CA8BDC8DAD}"/>
              </a:ext>
            </a:extLst>
          </p:cNvPr>
          <p:cNvGrpSpPr>
            <a:grpSpLocks noChangeAspect="1"/>
          </p:cNvGrpSpPr>
          <p:nvPr/>
        </p:nvGrpSpPr>
        <p:grpSpPr>
          <a:xfrm>
            <a:off x="3281363" y="1450526"/>
            <a:ext cx="3343275" cy="975702"/>
            <a:chOff x="13512800" y="647260"/>
            <a:chExt cx="1824936" cy="432729"/>
          </a:xfrm>
        </p:grpSpPr>
        <p:sp>
          <p:nvSpPr>
            <p:cNvPr id="21" name="Forme libre : forme 20">
              <a:extLst>
                <a:ext uri="{FF2B5EF4-FFF2-40B4-BE49-F238E27FC236}">
                  <a16:creationId xmlns:a16="http://schemas.microsoft.com/office/drawing/2014/main" id="{99653365-B3C4-444F-82DE-285CF0E1CA6F}"/>
                </a:ext>
              </a:extLst>
            </p:cNvPr>
            <p:cNvSpPr/>
            <p:nvPr/>
          </p:nvSpPr>
          <p:spPr>
            <a:xfrm>
              <a:off x="13798067" y="98854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noProof="0"/>
            </a:p>
          </p:txBody>
        </p:sp>
        <p:grpSp>
          <p:nvGrpSpPr>
            <p:cNvPr id="22" name="Graphique 9">
              <a:extLst>
                <a:ext uri="{FF2B5EF4-FFF2-40B4-BE49-F238E27FC236}">
                  <a16:creationId xmlns:a16="http://schemas.microsoft.com/office/drawing/2014/main" id="{961BD59A-05B1-4C02-8A81-07CA8BDC8DAD}"/>
                </a:ext>
              </a:extLst>
            </p:cNvPr>
            <p:cNvGrpSpPr/>
            <p:nvPr/>
          </p:nvGrpSpPr>
          <p:grpSpPr>
            <a:xfrm>
              <a:off x="13512800" y="647260"/>
              <a:ext cx="1824936" cy="273031"/>
              <a:chOff x="13512800" y="647260"/>
              <a:chExt cx="1824936" cy="273031"/>
            </a:xfrm>
          </p:grpSpPr>
          <p:sp>
            <p:nvSpPr>
              <p:cNvPr id="23" name="Forme libre : forme 22">
                <a:extLst>
                  <a:ext uri="{FF2B5EF4-FFF2-40B4-BE49-F238E27FC236}">
                    <a16:creationId xmlns:a16="http://schemas.microsoft.com/office/drawing/2014/main" id="{FF233BB3-ACF3-4781-BB6A-01081E108397}"/>
                  </a:ext>
                </a:extLst>
              </p:cNvPr>
              <p:cNvSpPr/>
              <p:nvPr/>
            </p:nvSpPr>
            <p:spPr>
              <a:xfrm>
                <a:off x="13512800" y="64726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tx2"/>
              </a:solidFill>
              <a:ln w="6439" cap="flat">
                <a:noFill/>
                <a:prstDash val="solid"/>
                <a:miter/>
              </a:ln>
            </p:spPr>
            <p:txBody>
              <a:bodyPr rtlCol="0" anchor="ctr"/>
              <a:lstStyle/>
              <a:p>
                <a:endParaRPr lang="en-US" sz="731" noProof="0" dirty="0"/>
              </a:p>
            </p:txBody>
          </p:sp>
          <p:sp>
            <p:nvSpPr>
              <p:cNvPr id="24" name="Forme libre : forme 23">
                <a:extLst>
                  <a:ext uri="{FF2B5EF4-FFF2-40B4-BE49-F238E27FC236}">
                    <a16:creationId xmlns:a16="http://schemas.microsoft.com/office/drawing/2014/main" id="{E66A88E7-6071-4EAC-880E-DC729DF67D56}"/>
                  </a:ext>
                </a:extLst>
              </p:cNvPr>
              <p:cNvSpPr/>
              <p:nvPr/>
            </p:nvSpPr>
            <p:spPr>
              <a:xfrm>
                <a:off x="15119439" y="69748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noProof="0"/>
              </a:p>
            </p:txBody>
          </p:sp>
        </p:grpSp>
      </p:grpSp>
      <p:sp>
        <p:nvSpPr>
          <p:cNvPr id="28" name="object 7">
            <a:extLst>
              <a:ext uri="{FF2B5EF4-FFF2-40B4-BE49-F238E27FC236}">
                <a16:creationId xmlns:a16="http://schemas.microsoft.com/office/drawing/2014/main" id="{29822F41-3E84-4E9E-9116-6C25F75AAF11}"/>
              </a:ext>
            </a:extLst>
          </p:cNvPr>
          <p:cNvSpPr/>
          <p:nvPr userDrawn="1"/>
        </p:nvSpPr>
        <p:spPr>
          <a:xfrm>
            <a:off x="8791567" y="0"/>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lang="en-US" sz="731" noProof="0"/>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sp>
        <p:nvSpPr>
          <p:cNvPr id="5" name="bg object 20">
            <a:extLst>
              <a:ext uri="{FF2B5EF4-FFF2-40B4-BE49-F238E27FC236}">
                <a16:creationId xmlns:a16="http://schemas.microsoft.com/office/drawing/2014/main" id="{A151CB84-5005-40BA-BAF1-E69C66FDC882}"/>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4" name="Footer Placeholder 3">
            <a:extLst>
              <a:ext uri="{FF2B5EF4-FFF2-40B4-BE49-F238E27FC236}">
                <a16:creationId xmlns:a16="http://schemas.microsoft.com/office/drawing/2014/main" id="{8DDBE354-2B85-4429-839B-46B1BC3E95A9}"/>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911604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1215033" y="1669251"/>
            <a:ext cx="5130998" cy="436516"/>
          </a:xfrm>
          <a:prstGeom prst="rect">
            <a:avLst/>
          </a:prstGeom>
        </p:spPr>
        <p:txBody>
          <a:bodyPr wrap="square" lIns="0" tIns="14400" rIns="0" bIns="0">
            <a:spAutoFit/>
          </a:bodyPr>
          <a:lstStyle>
            <a:lvl1pPr algn="l">
              <a:defRPr sz="2742" b="1">
                <a:solidFill>
                  <a:schemeClr val="tx2"/>
                </a:solidFill>
              </a:defRPr>
            </a:lvl1pPr>
          </a:lstStyle>
          <a:p>
            <a:r>
              <a:rPr lang="en-US" noProof="0" dirty="0"/>
              <a:t>Introduction</a:t>
            </a:r>
          </a:p>
        </p:txBody>
      </p:sp>
      <p:sp>
        <p:nvSpPr>
          <p:cNvPr id="30" name="object 8">
            <a:extLst>
              <a:ext uri="{FF2B5EF4-FFF2-40B4-BE49-F238E27FC236}">
                <a16:creationId xmlns:a16="http://schemas.microsoft.com/office/drawing/2014/main" id="{69177CBD-B7C4-44E2-AA0C-473214EADBDA}"/>
              </a:ext>
            </a:extLst>
          </p:cNvPr>
          <p:cNvSpPr/>
          <p:nvPr userDrawn="1"/>
        </p:nvSpPr>
        <p:spPr>
          <a:xfrm>
            <a:off x="0"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lang="en-US" sz="731" noProof="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 name="object 4">
            <a:extLst>
              <a:ext uri="{FF2B5EF4-FFF2-40B4-BE49-F238E27FC236}">
                <a16:creationId xmlns:a16="http://schemas.microsoft.com/office/drawing/2014/main" id="{D3C0EACF-3AD5-4884-9531-06FDA14E14F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12" name="object 5">
            <a:extLst>
              <a:ext uri="{FF2B5EF4-FFF2-40B4-BE49-F238E27FC236}">
                <a16:creationId xmlns:a16="http://schemas.microsoft.com/office/drawing/2014/main" id="{8F84A533-D15F-4251-B825-30C4967127B7}"/>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14" name="object 6">
            <a:extLst>
              <a:ext uri="{FF2B5EF4-FFF2-40B4-BE49-F238E27FC236}">
                <a16:creationId xmlns:a16="http://schemas.microsoft.com/office/drawing/2014/main" id="{5815314C-9423-41A5-BEA4-E339EE8896A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BC1E59CB-5F39-462D-B61D-4A4C7D89DC3D}"/>
              </a:ext>
            </a:extLst>
          </p:cNvPr>
          <p:cNvSpPr>
            <a:spLocks noGrp="1"/>
          </p:cNvSpPr>
          <p:nvPr>
            <p:ph type="body" sz="quarter" idx="10" hasCustomPrompt="1"/>
          </p:nvPr>
        </p:nvSpPr>
        <p:spPr>
          <a:xfrm>
            <a:off x="1215033" y="2227416"/>
            <a:ext cx="5130998" cy="182985"/>
          </a:xfrm>
        </p:spPr>
        <p:txBody>
          <a:bodyPr wrap="square" tIns="14400">
            <a:spAutoFit/>
          </a:bodyPr>
          <a:lstStyle>
            <a:lvl1pPr>
              <a:spcBef>
                <a:spcPts val="0"/>
              </a:spcBef>
              <a:defRPr sz="1097">
                <a:solidFill>
                  <a:schemeClr val="accent3"/>
                </a:solidFill>
              </a:defRPr>
            </a:lvl1pPr>
            <a:lvl2pPr>
              <a:defRPr sz="914">
                <a:solidFill>
                  <a:schemeClr val="accent3"/>
                </a:solidFill>
              </a:defRPr>
            </a:lvl2pPr>
            <a:lvl3pPr>
              <a:defRPr sz="792"/>
            </a:lvl3pPr>
          </a:lstStyle>
          <a:p>
            <a:pPr lvl="0"/>
            <a:r>
              <a:rPr lang="en-US" dirty="0"/>
              <a:t>Text</a:t>
            </a:r>
          </a:p>
        </p:txBody>
      </p:sp>
      <p:sp>
        <p:nvSpPr>
          <p:cNvPr id="5" name="Footer Placeholder 4">
            <a:extLst>
              <a:ext uri="{FF2B5EF4-FFF2-40B4-BE49-F238E27FC236}">
                <a16:creationId xmlns:a16="http://schemas.microsoft.com/office/drawing/2014/main" id="{3C843F9D-3345-4E29-AB08-377E0B10E798}"/>
              </a:ext>
            </a:extLst>
          </p:cNvPr>
          <p:cNvSpPr>
            <a:spLocks noGrp="1"/>
          </p:cNvSpPr>
          <p:nvPr>
            <p:ph type="ftr" sz="quarter" idx="11"/>
          </p:nvPr>
        </p:nvSpPr>
        <p:spPr/>
        <p:txBody>
          <a:bodyPr/>
          <a:lstStyle/>
          <a:p>
            <a:endParaRPr lang="en-US" sz="609" dirty="0"/>
          </a:p>
        </p:txBody>
      </p:sp>
    </p:spTree>
    <p:extLst>
      <p:ext uri="{BB962C8B-B14F-4D97-AF65-F5344CB8AC3E}">
        <p14:creationId xmlns:p14="http://schemas.microsoft.com/office/powerpoint/2010/main" val="41478016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4">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13" name="Text Placeholder 31">
            <a:extLst>
              <a:ext uri="{FF2B5EF4-FFF2-40B4-BE49-F238E27FC236}">
                <a16:creationId xmlns:a16="http://schemas.microsoft.com/office/drawing/2014/main" id="{3511C7BF-3840-4CE8-BB5B-C7B083913503}"/>
              </a:ext>
            </a:extLst>
          </p:cNvPr>
          <p:cNvSpPr>
            <a:spLocks noGrp="1"/>
          </p:cNvSpPr>
          <p:nvPr>
            <p:ph type="body" sz="quarter" idx="69" hasCustomPrompt="1"/>
          </p:nvPr>
        </p:nvSpPr>
        <p:spPr>
          <a:xfrm>
            <a:off x="5237088"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14" name="Text Placeholder 18">
            <a:extLst>
              <a:ext uri="{FF2B5EF4-FFF2-40B4-BE49-F238E27FC236}">
                <a16:creationId xmlns:a16="http://schemas.microsoft.com/office/drawing/2014/main" id="{EFD58F2A-B07B-4D2B-8951-E00DDA67D769}"/>
              </a:ext>
            </a:extLst>
          </p:cNvPr>
          <p:cNvSpPr>
            <a:spLocks noGrp="1"/>
          </p:cNvSpPr>
          <p:nvPr>
            <p:ph type="body" sz="quarter" idx="70" hasCustomPrompt="1"/>
          </p:nvPr>
        </p:nvSpPr>
        <p:spPr>
          <a:xfrm>
            <a:off x="5802041"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15" name="Text Placeholder 18">
            <a:extLst>
              <a:ext uri="{FF2B5EF4-FFF2-40B4-BE49-F238E27FC236}">
                <a16:creationId xmlns:a16="http://schemas.microsoft.com/office/drawing/2014/main" id="{A3AA694F-FB48-41A8-B07B-EC1F3B40C396}"/>
              </a:ext>
            </a:extLst>
          </p:cNvPr>
          <p:cNvSpPr>
            <a:spLocks noGrp="1"/>
          </p:cNvSpPr>
          <p:nvPr>
            <p:ph type="body" sz="quarter" idx="71" hasCustomPrompt="1"/>
          </p:nvPr>
        </p:nvSpPr>
        <p:spPr>
          <a:xfrm>
            <a:off x="5802040"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0" name="Text Placeholder 18">
            <a:extLst>
              <a:ext uri="{FF2B5EF4-FFF2-40B4-BE49-F238E27FC236}">
                <a16:creationId xmlns:a16="http://schemas.microsoft.com/office/drawing/2014/main" id="{8465A35D-EC66-40E8-80CC-6934147C8909}"/>
              </a:ext>
            </a:extLst>
          </p:cNvPr>
          <p:cNvSpPr>
            <a:spLocks noGrp="1"/>
          </p:cNvSpPr>
          <p:nvPr>
            <p:ph type="body" sz="quarter" idx="72" hasCustomPrompt="1"/>
          </p:nvPr>
        </p:nvSpPr>
        <p:spPr>
          <a:xfrm>
            <a:off x="8837254"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3" name="Text Placeholder 31">
            <a:extLst>
              <a:ext uri="{FF2B5EF4-FFF2-40B4-BE49-F238E27FC236}">
                <a16:creationId xmlns:a16="http://schemas.microsoft.com/office/drawing/2014/main" id="{F5A26CFA-C26B-4F48-AFCC-68C933599A66}"/>
              </a:ext>
            </a:extLst>
          </p:cNvPr>
          <p:cNvSpPr>
            <a:spLocks noGrp="1"/>
          </p:cNvSpPr>
          <p:nvPr>
            <p:ph type="body" sz="quarter" idx="73" hasCustomPrompt="1"/>
          </p:nvPr>
        </p:nvSpPr>
        <p:spPr>
          <a:xfrm>
            <a:off x="557212" y="3908831"/>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4" name="Text Placeholder 18">
            <a:extLst>
              <a:ext uri="{FF2B5EF4-FFF2-40B4-BE49-F238E27FC236}">
                <a16:creationId xmlns:a16="http://schemas.microsoft.com/office/drawing/2014/main" id="{248854A8-0EED-4EC1-81BB-9B97B87D848B}"/>
              </a:ext>
            </a:extLst>
          </p:cNvPr>
          <p:cNvSpPr>
            <a:spLocks noGrp="1"/>
          </p:cNvSpPr>
          <p:nvPr>
            <p:ph type="body" sz="quarter" idx="74" hasCustomPrompt="1"/>
          </p:nvPr>
        </p:nvSpPr>
        <p:spPr>
          <a:xfrm>
            <a:off x="1122165" y="4133525"/>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5" name="Text Placeholder 18">
            <a:extLst>
              <a:ext uri="{FF2B5EF4-FFF2-40B4-BE49-F238E27FC236}">
                <a16:creationId xmlns:a16="http://schemas.microsoft.com/office/drawing/2014/main" id="{FF847E46-100F-4B85-ABC9-C63CBCF3D745}"/>
              </a:ext>
            </a:extLst>
          </p:cNvPr>
          <p:cNvSpPr>
            <a:spLocks noGrp="1"/>
          </p:cNvSpPr>
          <p:nvPr>
            <p:ph type="body" sz="quarter" idx="75" hasCustomPrompt="1"/>
          </p:nvPr>
        </p:nvSpPr>
        <p:spPr>
          <a:xfrm>
            <a:off x="1122164" y="4492280"/>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6" name="Text Placeholder 18">
            <a:extLst>
              <a:ext uri="{FF2B5EF4-FFF2-40B4-BE49-F238E27FC236}">
                <a16:creationId xmlns:a16="http://schemas.microsoft.com/office/drawing/2014/main" id="{1EDAB9D3-F6BE-48C5-94F8-F0CEB0166F34}"/>
              </a:ext>
            </a:extLst>
          </p:cNvPr>
          <p:cNvSpPr>
            <a:spLocks noGrp="1"/>
          </p:cNvSpPr>
          <p:nvPr>
            <p:ph type="body" sz="quarter" idx="76" hasCustomPrompt="1"/>
          </p:nvPr>
        </p:nvSpPr>
        <p:spPr>
          <a:xfrm>
            <a:off x="4157378" y="4492279"/>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37" name="Text Placeholder 31">
            <a:extLst>
              <a:ext uri="{FF2B5EF4-FFF2-40B4-BE49-F238E27FC236}">
                <a16:creationId xmlns:a16="http://schemas.microsoft.com/office/drawing/2014/main" id="{6FFEF1B8-6626-4B8C-86D2-FD64ECC7E0EE}"/>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8" name="Text Placeholder 18">
            <a:extLst>
              <a:ext uri="{FF2B5EF4-FFF2-40B4-BE49-F238E27FC236}">
                <a16:creationId xmlns:a16="http://schemas.microsoft.com/office/drawing/2014/main" id="{5F1270D3-9E35-4323-99FB-4AA40123E72B}"/>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9" name="Text Placeholder 18">
            <a:extLst>
              <a:ext uri="{FF2B5EF4-FFF2-40B4-BE49-F238E27FC236}">
                <a16:creationId xmlns:a16="http://schemas.microsoft.com/office/drawing/2014/main" id="{1C93CA53-2F3D-4CA4-A60D-15B2C8F92786}"/>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0" name="Text Placeholder 18">
            <a:extLst>
              <a:ext uri="{FF2B5EF4-FFF2-40B4-BE49-F238E27FC236}">
                <a16:creationId xmlns:a16="http://schemas.microsoft.com/office/drawing/2014/main" id="{93C6D7CE-3B53-4781-9604-D0FE8BEF0B5C}"/>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1" name="Text Placeholder 31">
            <a:extLst>
              <a:ext uri="{FF2B5EF4-FFF2-40B4-BE49-F238E27FC236}">
                <a16:creationId xmlns:a16="http://schemas.microsoft.com/office/drawing/2014/main" id="{F09C8D30-46AD-4E01-B69D-ECF0E9639720}"/>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2" name="Text Placeholder 18">
            <a:extLst>
              <a:ext uri="{FF2B5EF4-FFF2-40B4-BE49-F238E27FC236}">
                <a16:creationId xmlns:a16="http://schemas.microsoft.com/office/drawing/2014/main" id="{6BBF8358-0312-4476-A379-4092F5096A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3" name="Text Placeholder 18">
            <a:extLst>
              <a:ext uri="{FF2B5EF4-FFF2-40B4-BE49-F238E27FC236}">
                <a16:creationId xmlns:a16="http://schemas.microsoft.com/office/drawing/2014/main" id="{131FAF0A-F8E5-4E88-BBC2-856B2610CB5C}"/>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4" name="Text Placeholder 18">
            <a:extLst>
              <a:ext uri="{FF2B5EF4-FFF2-40B4-BE49-F238E27FC236}">
                <a16:creationId xmlns:a16="http://schemas.microsoft.com/office/drawing/2014/main" id="{DF585C99-0360-4056-A9DA-37C046EC20FC}"/>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742D049B-FF10-4FE9-B55A-5E1428FB2026}"/>
              </a:ext>
            </a:extLst>
          </p:cNvPr>
          <p:cNvSpPr>
            <a:spLocks noGrp="1"/>
          </p:cNvSpPr>
          <p:nvPr>
            <p:ph type="ftr" sz="quarter" idx="110"/>
          </p:nvPr>
        </p:nvSpPr>
        <p:spPr/>
        <p:txBody>
          <a:bodyPr/>
          <a:lstStyle/>
          <a:p>
            <a:endParaRPr lang="en-US" dirty="0"/>
          </a:p>
        </p:txBody>
      </p:sp>
      <p:sp>
        <p:nvSpPr>
          <p:cNvPr id="21" name="Titre 3">
            <a:extLst>
              <a:ext uri="{FF2B5EF4-FFF2-40B4-BE49-F238E27FC236}">
                <a16:creationId xmlns:a16="http://schemas.microsoft.com/office/drawing/2014/main" id="{AE0B397F-537F-475A-B197-1EC9819F9B4F}"/>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859135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6">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02" name="Text Placeholder 31">
            <a:extLst>
              <a:ext uri="{FF2B5EF4-FFF2-40B4-BE49-F238E27FC236}">
                <a16:creationId xmlns:a16="http://schemas.microsoft.com/office/drawing/2014/main" id="{7EC72E04-62A6-456D-9129-8BFC76A3EA7B}"/>
              </a:ext>
            </a:extLst>
          </p:cNvPr>
          <p:cNvSpPr>
            <a:spLocks noGrp="1"/>
          </p:cNvSpPr>
          <p:nvPr>
            <p:ph type="body" sz="quarter" idx="89" hasCustomPrompt="1"/>
          </p:nvPr>
        </p:nvSpPr>
        <p:spPr>
          <a:xfrm>
            <a:off x="557212"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3" name="Text Placeholder 18">
            <a:extLst>
              <a:ext uri="{FF2B5EF4-FFF2-40B4-BE49-F238E27FC236}">
                <a16:creationId xmlns:a16="http://schemas.microsoft.com/office/drawing/2014/main" id="{75D73ABA-CA4C-4758-A70B-18788A7152E0}"/>
              </a:ext>
            </a:extLst>
          </p:cNvPr>
          <p:cNvSpPr>
            <a:spLocks noGrp="1"/>
          </p:cNvSpPr>
          <p:nvPr>
            <p:ph type="body" sz="quarter" idx="90" hasCustomPrompt="1"/>
          </p:nvPr>
        </p:nvSpPr>
        <p:spPr>
          <a:xfrm>
            <a:off x="1122165"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4" name="Text Placeholder 18">
            <a:extLst>
              <a:ext uri="{FF2B5EF4-FFF2-40B4-BE49-F238E27FC236}">
                <a16:creationId xmlns:a16="http://schemas.microsoft.com/office/drawing/2014/main" id="{46C41AE2-59D8-4B49-848B-EA4CBB402683}"/>
              </a:ext>
            </a:extLst>
          </p:cNvPr>
          <p:cNvSpPr>
            <a:spLocks noGrp="1"/>
          </p:cNvSpPr>
          <p:nvPr>
            <p:ph type="body" sz="quarter" idx="91" hasCustomPrompt="1"/>
          </p:nvPr>
        </p:nvSpPr>
        <p:spPr>
          <a:xfrm>
            <a:off x="1122164"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5" name="Text Placeholder 18">
            <a:extLst>
              <a:ext uri="{FF2B5EF4-FFF2-40B4-BE49-F238E27FC236}">
                <a16:creationId xmlns:a16="http://schemas.microsoft.com/office/drawing/2014/main" id="{2220B1D5-71D2-48C3-A929-898FF8C1F570}"/>
              </a:ext>
            </a:extLst>
          </p:cNvPr>
          <p:cNvSpPr>
            <a:spLocks noGrp="1"/>
          </p:cNvSpPr>
          <p:nvPr>
            <p:ph type="body" sz="quarter" idx="92" hasCustomPrompt="1"/>
          </p:nvPr>
        </p:nvSpPr>
        <p:spPr>
          <a:xfrm>
            <a:off x="4157378"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06" name="Text Placeholder 31">
            <a:extLst>
              <a:ext uri="{FF2B5EF4-FFF2-40B4-BE49-F238E27FC236}">
                <a16:creationId xmlns:a16="http://schemas.microsoft.com/office/drawing/2014/main" id="{E2D825A0-520D-4092-8235-41A32121B04E}"/>
              </a:ext>
            </a:extLst>
          </p:cNvPr>
          <p:cNvSpPr>
            <a:spLocks noGrp="1"/>
          </p:cNvSpPr>
          <p:nvPr>
            <p:ph type="body" sz="quarter" idx="93" hasCustomPrompt="1"/>
          </p:nvPr>
        </p:nvSpPr>
        <p:spPr>
          <a:xfrm>
            <a:off x="557212"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07" name="Text Placeholder 18">
            <a:extLst>
              <a:ext uri="{FF2B5EF4-FFF2-40B4-BE49-F238E27FC236}">
                <a16:creationId xmlns:a16="http://schemas.microsoft.com/office/drawing/2014/main" id="{22E612C7-1A1F-493A-8A38-C03F18CC687E}"/>
              </a:ext>
            </a:extLst>
          </p:cNvPr>
          <p:cNvSpPr>
            <a:spLocks noGrp="1"/>
          </p:cNvSpPr>
          <p:nvPr>
            <p:ph type="body" sz="quarter" idx="94" hasCustomPrompt="1"/>
          </p:nvPr>
        </p:nvSpPr>
        <p:spPr>
          <a:xfrm>
            <a:off x="1122165"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08" name="Text Placeholder 18">
            <a:extLst>
              <a:ext uri="{FF2B5EF4-FFF2-40B4-BE49-F238E27FC236}">
                <a16:creationId xmlns:a16="http://schemas.microsoft.com/office/drawing/2014/main" id="{649F1CE4-C3CE-4985-AD3E-FC4A4AC0C2BD}"/>
              </a:ext>
            </a:extLst>
          </p:cNvPr>
          <p:cNvSpPr>
            <a:spLocks noGrp="1"/>
          </p:cNvSpPr>
          <p:nvPr>
            <p:ph type="body" sz="quarter" idx="95" hasCustomPrompt="1"/>
          </p:nvPr>
        </p:nvSpPr>
        <p:spPr>
          <a:xfrm>
            <a:off x="1122164"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09" name="Text Placeholder 18">
            <a:extLst>
              <a:ext uri="{FF2B5EF4-FFF2-40B4-BE49-F238E27FC236}">
                <a16:creationId xmlns:a16="http://schemas.microsoft.com/office/drawing/2014/main" id="{CB3A685A-DB20-4E5A-9F48-2108FDDDF82A}"/>
              </a:ext>
            </a:extLst>
          </p:cNvPr>
          <p:cNvSpPr>
            <a:spLocks noGrp="1"/>
          </p:cNvSpPr>
          <p:nvPr>
            <p:ph type="body" sz="quarter" idx="96" hasCustomPrompt="1"/>
          </p:nvPr>
        </p:nvSpPr>
        <p:spPr>
          <a:xfrm>
            <a:off x="4157378"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5" name="Text Placeholder 31">
            <a:extLst>
              <a:ext uri="{FF2B5EF4-FFF2-40B4-BE49-F238E27FC236}">
                <a16:creationId xmlns:a16="http://schemas.microsoft.com/office/drawing/2014/main" id="{FB61BDCE-020E-4BCF-9B3C-320CC2C9B7AF}"/>
              </a:ext>
            </a:extLst>
          </p:cNvPr>
          <p:cNvSpPr>
            <a:spLocks noGrp="1"/>
          </p:cNvSpPr>
          <p:nvPr>
            <p:ph type="body" sz="quarter" idx="106" hasCustomPrompt="1"/>
          </p:nvPr>
        </p:nvSpPr>
        <p:spPr>
          <a:xfrm>
            <a:off x="5237088" y="148077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26" name="Text Placeholder 18">
            <a:extLst>
              <a:ext uri="{FF2B5EF4-FFF2-40B4-BE49-F238E27FC236}">
                <a16:creationId xmlns:a16="http://schemas.microsoft.com/office/drawing/2014/main" id="{13C2CDE7-3771-468A-A640-29AA16C28536}"/>
              </a:ext>
            </a:extLst>
          </p:cNvPr>
          <p:cNvSpPr>
            <a:spLocks noGrp="1"/>
          </p:cNvSpPr>
          <p:nvPr>
            <p:ph type="body" sz="quarter" idx="107" hasCustomPrompt="1"/>
          </p:nvPr>
        </p:nvSpPr>
        <p:spPr>
          <a:xfrm>
            <a:off x="5802041" y="170546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27" name="Text Placeholder 18">
            <a:extLst>
              <a:ext uri="{FF2B5EF4-FFF2-40B4-BE49-F238E27FC236}">
                <a16:creationId xmlns:a16="http://schemas.microsoft.com/office/drawing/2014/main" id="{831093BB-2135-4302-AD17-917734EC88A6}"/>
              </a:ext>
            </a:extLst>
          </p:cNvPr>
          <p:cNvSpPr>
            <a:spLocks noGrp="1"/>
          </p:cNvSpPr>
          <p:nvPr>
            <p:ph type="body" sz="quarter" idx="108" hasCustomPrompt="1"/>
          </p:nvPr>
        </p:nvSpPr>
        <p:spPr>
          <a:xfrm>
            <a:off x="5802040" y="206422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28" name="Text Placeholder 18">
            <a:extLst>
              <a:ext uri="{FF2B5EF4-FFF2-40B4-BE49-F238E27FC236}">
                <a16:creationId xmlns:a16="http://schemas.microsoft.com/office/drawing/2014/main" id="{EF93369E-2C3E-4EE7-8D1D-99C239A339E3}"/>
              </a:ext>
            </a:extLst>
          </p:cNvPr>
          <p:cNvSpPr>
            <a:spLocks noGrp="1"/>
          </p:cNvSpPr>
          <p:nvPr>
            <p:ph type="body" sz="quarter" idx="109" hasCustomPrompt="1"/>
          </p:nvPr>
        </p:nvSpPr>
        <p:spPr>
          <a:xfrm>
            <a:off x="8837254" y="206422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29" name="Text Placeholder 31">
            <a:extLst>
              <a:ext uri="{FF2B5EF4-FFF2-40B4-BE49-F238E27FC236}">
                <a16:creationId xmlns:a16="http://schemas.microsoft.com/office/drawing/2014/main" id="{C287AF80-AE6B-424F-8FDB-B11EF6A13FB2}"/>
              </a:ext>
            </a:extLst>
          </p:cNvPr>
          <p:cNvSpPr>
            <a:spLocks noGrp="1"/>
          </p:cNvSpPr>
          <p:nvPr>
            <p:ph type="body" sz="quarter" idx="110" hasCustomPrompt="1"/>
          </p:nvPr>
        </p:nvSpPr>
        <p:spPr>
          <a:xfrm>
            <a:off x="5237088" y="301959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31" name="Text Placeholder 18">
            <a:extLst>
              <a:ext uri="{FF2B5EF4-FFF2-40B4-BE49-F238E27FC236}">
                <a16:creationId xmlns:a16="http://schemas.microsoft.com/office/drawing/2014/main" id="{61424F3E-758A-41A8-BED0-46CF7C78F3DB}"/>
              </a:ext>
            </a:extLst>
          </p:cNvPr>
          <p:cNvSpPr>
            <a:spLocks noGrp="1"/>
          </p:cNvSpPr>
          <p:nvPr>
            <p:ph type="body" sz="quarter" idx="111" hasCustomPrompt="1"/>
          </p:nvPr>
        </p:nvSpPr>
        <p:spPr>
          <a:xfrm>
            <a:off x="5802041" y="324428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32" name="Text Placeholder 18">
            <a:extLst>
              <a:ext uri="{FF2B5EF4-FFF2-40B4-BE49-F238E27FC236}">
                <a16:creationId xmlns:a16="http://schemas.microsoft.com/office/drawing/2014/main" id="{C48A6046-5F7C-45C3-832A-2C969ACC9C87}"/>
              </a:ext>
            </a:extLst>
          </p:cNvPr>
          <p:cNvSpPr>
            <a:spLocks noGrp="1"/>
          </p:cNvSpPr>
          <p:nvPr>
            <p:ph type="body" sz="quarter" idx="112" hasCustomPrompt="1"/>
          </p:nvPr>
        </p:nvSpPr>
        <p:spPr>
          <a:xfrm>
            <a:off x="5802040" y="360304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37" name="Text Placeholder 18">
            <a:extLst>
              <a:ext uri="{FF2B5EF4-FFF2-40B4-BE49-F238E27FC236}">
                <a16:creationId xmlns:a16="http://schemas.microsoft.com/office/drawing/2014/main" id="{27D74F4C-9A89-4C62-9FBF-A53BF21FC900}"/>
              </a:ext>
            </a:extLst>
          </p:cNvPr>
          <p:cNvSpPr>
            <a:spLocks noGrp="1"/>
          </p:cNvSpPr>
          <p:nvPr>
            <p:ph type="body" sz="quarter" idx="113" hasCustomPrompt="1"/>
          </p:nvPr>
        </p:nvSpPr>
        <p:spPr>
          <a:xfrm>
            <a:off x="8837254" y="360304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2" name="Text Placeholder 31">
            <a:extLst>
              <a:ext uri="{FF2B5EF4-FFF2-40B4-BE49-F238E27FC236}">
                <a16:creationId xmlns:a16="http://schemas.microsoft.com/office/drawing/2014/main" id="{BD95E687-7F93-472F-98D4-EC938AA6550F}"/>
              </a:ext>
            </a:extLst>
          </p:cNvPr>
          <p:cNvSpPr>
            <a:spLocks noGrp="1"/>
          </p:cNvSpPr>
          <p:nvPr>
            <p:ph type="body" sz="quarter" idx="118" hasCustomPrompt="1"/>
          </p:nvPr>
        </p:nvSpPr>
        <p:spPr>
          <a:xfrm>
            <a:off x="557212"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3" name="Text Placeholder 18">
            <a:extLst>
              <a:ext uri="{FF2B5EF4-FFF2-40B4-BE49-F238E27FC236}">
                <a16:creationId xmlns:a16="http://schemas.microsoft.com/office/drawing/2014/main" id="{025B0146-CB38-42F3-839F-A26A6143E0F2}"/>
              </a:ext>
            </a:extLst>
          </p:cNvPr>
          <p:cNvSpPr>
            <a:spLocks noGrp="1"/>
          </p:cNvSpPr>
          <p:nvPr>
            <p:ph type="body" sz="quarter" idx="119" hasCustomPrompt="1"/>
          </p:nvPr>
        </p:nvSpPr>
        <p:spPr>
          <a:xfrm>
            <a:off x="1122165"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4" name="Text Placeholder 18">
            <a:extLst>
              <a:ext uri="{FF2B5EF4-FFF2-40B4-BE49-F238E27FC236}">
                <a16:creationId xmlns:a16="http://schemas.microsoft.com/office/drawing/2014/main" id="{A284474C-E457-4B47-BD17-F5D8229E4172}"/>
              </a:ext>
            </a:extLst>
          </p:cNvPr>
          <p:cNvSpPr>
            <a:spLocks noGrp="1"/>
          </p:cNvSpPr>
          <p:nvPr>
            <p:ph type="body" sz="quarter" idx="120" hasCustomPrompt="1"/>
          </p:nvPr>
        </p:nvSpPr>
        <p:spPr>
          <a:xfrm>
            <a:off x="1122164"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5" name="Text Placeholder 18">
            <a:extLst>
              <a:ext uri="{FF2B5EF4-FFF2-40B4-BE49-F238E27FC236}">
                <a16:creationId xmlns:a16="http://schemas.microsoft.com/office/drawing/2014/main" id="{BD29F203-3EED-448C-9A44-6A9AF6E4D1AE}"/>
              </a:ext>
            </a:extLst>
          </p:cNvPr>
          <p:cNvSpPr>
            <a:spLocks noGrp="1"/>
          </p:cNvSpPr>
          <p:nvPr>
            <p:ph type="body" sz="quarter" idx="121" hasCustomPrompt="1"/>
          </p:nvPr>
        </p:nvSpPr>
        <p:spPr>
          <a:xfrm>
            <a:off x="4157378"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146" name="Text Placeholder 31">
            <a:extLst>
              <a:ext uri="{FF2B5EF4-FFF2-40B4-BE49-F238E27FC236}">
                <a16:creationId xmlns:a16="http://schemas.microsoft.com/office/drawing/2014/main" id="{37A450F0-202F-4585-8D10-F0C9C63E8342}"/>
              </a:ext>
            </a:extLst>
          </p:cNvPr>
          <p:cNvSpPr>
            <a:spLocks noGrp="1"/>
          </p:cNvSpPr>
          <p:nvPr>
            <p:ph type="body" sz="quarter" idx="122" hasCustomPrompt="1"/>
          </p:nvPr>
        </p:nvSpPr>
        <p:spPr>
          <a:xfrm>
            <a:off x="5237088" y="455841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147" name="Text Placeholder 18">
            <a:extLst>
              <a:ext uri="{FF2B5EF4-FFF2-40B4-BE49-F238E27FC236}">
                <a16:creationId xmlns:a16="http://schemas.microsoft.com/office/drawing/2014/main" id="{F15D7F17-C51A-401A-B45B-C0DD68E1A185}"/>
              </a:ext>
            </a:extLst>
          </p:cNvPr>
          <p:cNvSpPr>
            <a:spLocks noGrp="1"/>
          </p:cNvSpPr>
          <p:nvPr>
            <p:ph type="body" sz="quarter" idx="123" hasCustomPrompt="1"/>
          </p:nvPr>
        </p:nvSpPr>
        <p:spPr>
          <a:xfrm>
            <a:off x="5802041" y="478310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148" name="Text Placeholder 18">
            <a:extLst>
              <a:ext uri="{FF2B5EF4-FFF2-40B4-BE49-F238E27FC236}">
                <a16:creationId xmlns:a16="http://schemas.microsoft.com/office/drawing/2014/main" id="{EA613244-6AF1-4BED-B339-59144E1E2378}"/>
              </a:ext>
            </a:extLst>
          </p:cNvPr>
          <p:cNvSpPr>
            <a:spLocks noGrp="1"/>
          </p:cNvSpPr>
          <p:nvPr>
            <p:ph type="body" sz="quarter" idx="124" hasCustomPrompt="1"/>
          </p:nvPr>
        </p:nvSpPr>
        <p:spPr>
          <a:xfrm>
            <a:off x="5802040" y="514186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149" name="Text Placeholder 18">
            <a:extLst>
              <a:ext uri="{FF2B5EF4-FFF2-40B4-BE49-F238E27FC236}">
                <a16:creationId xmlns:a16="http://schemas.microsoft.com/office/drawing/2014/main" id="{015CB9AD-585C-4445-80B0-B9C7F59AD015}"/>
              </a:ext>
            </a:extLst>
          </p:cNvPr>
          <p:cNvSpPr>
            <a:spLocks noGrp="1"/>
          </p:cNvSpPr>
          <p:nvPr>
            <p:ph type="body" sz="quarter" idx="125" hasCustomPrompt="1"/>
          </p:nvPr>
        </p:nvSpPr>
        <p:spPr>
          <a:xfrm>
            <a:off x="8837254" y="514186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D94F7EFA-6F22-4F7A-86D6-B9B9EFDEBF45}"/>
              </a:ext>
            </a:extLst>
          </p:cNvPr>
          <p:cNvSpPr>
            <a:spLocks noGrp="1"/>
          </p:cNvSpPr>
          <p:nvPr>
            <p:ph type="ftr" sz="quarter" idx="126"/>
          </p:nvPr>
        </p:nvSpPr>
        <p:spPr/>
        <p:txBody>
          <a:bodyPr/>
          <a:lstStyle/>
          <a:p>
            <a:endParaRPr lang="en-US" dirty="0"/>
          </a:p>
        </p:txBody>
      </p:sp>
      <p:sp>
        <p:nvSpPr>
          <p:cNvPr id="29" name="Titre 3">
            <a:extLst>
              <a:ext uri="{FF2B5EF4-FFF2-40B4-BE49-F238E27FC236}">
                <a16:creationId xmlns:a16="http://schemas.microsoft.com/office/drawing/2014/main" id="{EC744315-8B20-4BBE-A882-04AFDA1143F8}"/>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23819620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s 10">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9" name="Text Placeholder 31">
            <a:extLst>
              <a:ext uri="{FF2B5EF4-FFF2-40B4-BE49-F238E27FC236}">
                <a16:creationId xmlns:a16="http://schemas.microsoft.com/office/drawing/2014/main" id="{28FBECDA-E756-436B-A2DF-561D7CBEBD61}"/>
              </a:ext>
            </a:extLst>
          </p:cNvPr>
          <p:cNvSpPr>
            <a:spLocks noGrp="1"/>
          </p:cNvSpPr>
          <p:nvPr>
            <p:ph type="body" sz="quarter" idx="11" hasCustomPrompt="1"/>
          </p:nvPr>
        </p:nvSpPr>
        <p:spPr>
          <a:xfrm>
            <a:off x="557212"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0" name="Text Placeholder 18">
            <a:extLst>
              <a:ext uri="{FF2B5EF4-FFF2-40B4-BE49-F238E27FC236}">
                <a16:creationId xmlns:a16="http://schemas.microsoft.com/office/drawing/2014/main" id="{D29DD076-5F15-437B-BFD1-4316097E0A0A}"/>
              </a:ext>
            </a:extLst>
          </p:cNvPr>
          <p:cNvSpPr>
            <a:spLocks noGrp="1"/>
          </p:cNvSpPr>
          <p:nvPr>
            <p:ph type="body" sz="quarter" idx="12" hasCustomPrompt="1"/>
          </p:nvPr>
        </p:nvSpPr>
        <p:spPr>
          <a:xfrm>
            <a:off x="1122165"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1" name="Text Placeholder 18">
            <a:extLst>
              <a:ext uri="{FF2B5EF4-FFF2-40B4-BE49-F238E27FC236}">
                <a16:creationId xmlns:a16="http://schemas.microsoft.com/office/drawing/2014/main" id="{2B1B91FE-791C-486B-BB38-16A0BC617DCB}"/>
              </a:ext>
            </a:extLst>
          </p:cNvPr>
          <p:cNvSpPr>
            <a:spLocks noGrp="1"/>
          </p:cNvSpPr>
          <p:nvPr>
            <p:ph type="body" sz="quarter" idx="13" hasCustomPrompt="1"/>
          </p:nvPr>
        </p:nvSpPr>
        <p:spPr>
          <a:xfrm>
            <a:off x="1122164"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2" name="Text Placeholder 18">
            <a:extLst>
              <a:ext uri="{FF2B5EF4-FFF2-40B4-BE49-F238E27FC236}">
                <a16:creationId xmlns:a16="http://schemas.microsoft.com/office/drawing/2014/main" id="{1AD460FF-7D8C-43FC-A584-F7A2A0070B2A}"/>
              </a:ext>
            </a:extLst>
          </p:cNvPr>
          <p:cNvSpPr>
            <a:spLocks noGrp="1"/>
          </p:cNvSpPr>
          <p:nvPr>
            <p:ph type="body" sz="quarter" idx="64" hasCustomPrompt="1"/>
          </p:nvPr>
        </p:nvSpPr>
        <p:spPr>
          <a:xfrm>
            <a:off x="4157378"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3" name="Text Placeholder 31">
            <a:extLst>
              <a:ext uri="{FF2B5EF4-FFF2-40B4-BE49-F238E27FC236}">
                <a16:creationId xmlns:a16="http://schemas.microsoft.com/office/drawing/2014/main" id="{6196209E-A760-418E-ABA2-4DD925C316F8}"/>
              </a:ext>
            </a:extLst>
          </p:cNvPr>
          <p:cNvSpPr>
            <a:spLocks noGrp="1"/>
          </p:cNvSpPr>
          <p:nvPr>
            <p:ph type="body" sz="quarter" idx="89" hasCustomPrompt="1"/>
          </p:nvPr>
        </p:nvSpPr>
        <p:spPr>
          <a:xfrm>
            <a:off x="557212"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4" name="Text Placeholder 18">
            <a:extLst>
              <a:ext uri="{FF2B5EF4-FFF2-40B4-BE49-F238E27FC236}">
                <a16:creationId xmlns:a16="http://schemas.microsoft.com/office/drawing/2014/main" id="{6316DC73-28D4-4F73-B949-6F6F5D61C2F0}"/>
              </a:ext>
            </a:extLst>
          </p:cNvPr>
          <p:cNvSpPr>
            <a:spLocks noGrp="1"/>
          </p:cNvSpPr>
          <p:nvPr>
            <p:ph type="body" sz="quarter" idx="90" hasCustomPrompt="1"/>
          </p:nvPr>
        </p:nvSpPr>
        <p:spPr>
          <a:xfrm>
            <a:off x="1122165"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5" name="Text Placeholder 18">
            <a:extLst>
              <a:ext uri="{FF2B5EF4-FFF2-40B4-BE49-F238E27FC236}">
                <a16:creationId xmlns:a16="http://schemas.microsoft.com/office/drawing/2014/main" id="{E6BEF16F-6B19-411C-B67C-B5AA0800E01A}"/>
              </a:ext>
            </a:extLst>
          </p:cNvPr>
          <p:cNvSpPr>
            <a:spLocks noGrp="1"/>
          </p:cNvSpPr>
          <p:nvPr>
            <p:ph type="body" sz="quarter" idx="91" hasCustomPrompt="1"/>
          </p:nvPr>
        </p:nvSpPr>
        <p:spPr>
          <a:xfrm>
            <a:off x="1122164"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56" name="Text Placeholder 18">
            <a:extLst>
              <a:ext uri="{FF2B5EF4-FFF2-40B4-BE49-F238E27FC236}">
                <a16:creationId xmlns:a16="http://schemas.microsoft.com/office/drawing/2014/main" id="{898B7DDA-82C5-4103-8C26-5F9811B20C90}"/>
              </a:ext>
            </a:extLst>
          </p:cNvPr>
          <p:cNvSpPr>
            <a:spLocks noGrp="1"/>
          </p:cNvSpPr>
          <p:nvPr>
            <p:ph type="body" sz="quarter" idx="92" hasCustomPrompt="1"/>
          </p:nvPr>
        </p:nvSpPr>
        <p:spPr>
          <a:xfrm>
            <a:off x="4157378"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57" name="Text Placeholder 31">
            <a:extLst>
              <a:ext uri="{FF2B5EF4-FFF2-40B4-BE49-F238E27FC236}">
                <a16:creationId xmlns:a16="http://schemas.microsoft.com/office/drawing/2014/main" id="{7DA447D7-A877-45B8-B6FB-AE90751E8876}"/>
              </a:ext>
            </a:extLst>
          </p:cNvPr>
          <p:cNvSpPr>
            <a:spLocks noGrp="1"/>
          </p:cNvSpPr>
          <p:nvPr>
            <p:ph type="body" sz="quarter" idx="93" hasCustomPrompt="1"/>
          </p:nvPr>
        </p:nvSpPr>
        <p:spPr>
          <a:xfrm>
            <a:off x="557212"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58" name="Text Placeholder 18">
            <a:extLst>
              <a:ext uri="{FF2B5EF4-FFF2-40B4-BE49-F238E27FC236}">
                <a16:creationId xmlns:a16="http://schemas.microsoft.com/office/drawing/2014/main" id="{CFE91535-724D-49F0-92FE-8CAB5C480A12}"/>
              </a:ext>
            </a:extLst>
          </p:cNvPr>
          <p:cNvSpPr>
            <a:spLocks noGrp="1"/>
          </p:cNvSpPr>
          <p:nvPr>
            <p:ph type="body" sz="quarter" idx="94" hasCustomPrompt="1"/>
          </p:nvPr>
        </p:nvSpPr>
        <p:spPr>
          <a:xfrm>
            <a:off x="1122165"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59" name="Text Placeholder 18">
            <a:extLst>
              <a:ext uri="{FF2B5EF4-FFF2-40B4-BE49-F238E27FC236}">
                <a16:creationId xmlns:a16="http://schemas.microsoft.com/office/drawing/2014/main" id="{3D27B957-835E-4BF0-9537-A1AC3D952B27}"/>
              </a:ext>
            </a:extLst>
          </p:cNvPr>
          <p:cNvSpPr>
            <a:spLocks noGrp="1"/>
          </p:cNvSpPr>
          <p:nvPr>
            <p:ph type="body" sz="quarter" idx="95" hasCustomPrompt="1"/>
          </p:nvPr>
        </p:nvSpPr>
        <p:spPr>
          <a:xfrm>
            <a:off x="1122164"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0" name="Text Placeholder 18">
            <a:extLst>
              <a:ext uri="{FF2B5EF4-FFF2-40B4-BE49-F238E27FC236}">
                <a16:creationId xmlns:a16="http://schemas.microsoft.com/office/drawing/2014/main" id="{F84C2754-E4E9-4354-B6CB-7B5B7AA5A828}"/>
              </a:ext>
            </a:extLst>
          </p:cNvPr>
          <p:cNvSpPr>
            <a:spLocks noGrp="1"/>
          </p:cNvSpPr>
          <p:nvPr>
            <p:ph type="body" sz="quarter" idx="96" hasCustomPrompt="1"/>
          </p:nvPr>
        </p:nvSpPr>
        <p:spPr>
          <a:xfrm>
            <a:off x="4157378"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1" name="Text Placeholder 31">
            <a:extLst>
              <a:ext uri="{FF2B5EF4-FFF2-40B4-BE49-F238E27FC236}">
                <a16:creationId xmlns:a16="http://schemas.microsoft.com/office/drawing/2014/main" id="{8C74BB45-5D6F-48E6-9347-96EE0CC93A2A}"/>
              </a:ext>
            </a:extLst>
          </p:cNvPr>
          <p:cNvSpPr>
            <a:spLocks noGrp="1"/>
          </p:cNvSpPr>
          <p:nvPr>
            <p:ph type="body" sz="quarter" idx="97" hasCustomPrompt="1"/>
          </p:nvPr>
        </p:nvSpPr>
        <p:spPr>
          <a:xfrm>
            <a:off x="557212"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2" name="Text Placeholder 18">
            <a:extLst>
              <a:ext uri="{FF2B5EF4-FFF2-40B4-BE49-F238E27FC236}">
                <a16:creationId xmlns:a16="http://schemas.microsoft.com/office/drawing/2014/main" id="{BCD1C6AA-1F9C-4210-9D36-274FD1A6AE79}"/>
              </a:ext>
            </a:extLst>
          </p:cNvPr>
          <p:cNvSpPr>
            <a:spLocks noGrp="1"/>
          </p:cNvSpPr>
          <p:nvPr>
            <p:ph type="body" sz="quarter" idx="98" hasCustomPrompt="1"/>
          </p:nvPr>
        </p:nvSpPr>
        <p:spPr>
          <a:xfrm>
            <a:off x="1122165"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3" name="Text Placeholder 18">
            <a:extLst>
              <a:ext uri="{FF2B5EF4-FFF2-40B4-BE49-F238E27FC236}">
                <a16:creationId xmlns:a16="http://schemas.microsoft.com/office/drawing/2014/main" id="{D180E97C-CAF1-4493-AD31-C1A8E60EAEFF}"/>
              </a:ext>
            </a:extLst>
          </p:cNvPr>
          <p:cNvSpPr>
            <a:spLocks noGrp="1"/>
          </p:cNvSpPr>
          <p:nvPr>
            <p:ph type="body" sz="quarter" idx="99" hasCustomPrompt="1"/>
          </p:nvPr>
        </p:nvSpPr>
        <p:spPr>
          <a:xfrm>
            <a:off x="1122164"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4" name="Text Placeholder 18">
            <a:extLst>
              <a:ext uri="{FF2B5EF4-FFF2-40B4-BE49-F238E27FC236}">
                <a16:creationId xmlns:a16="http://schemas.microsoft.com/office/drawing/2014/main" id="{7FE91E81-87F3-42A4-9446-8670F0C28A15}"/>
              </a:ext>
            </a:extLst>
          </p:cNvPr>
          <p:cNvSpPr>
            <a:spLocks noGrp="1"/>
          </p:cNvSpPr>
          <p:nvPr>
            <p:ph type="body" sz="quarter" idx="100" hasCustomPrompt="1"/>
          </p:nvPr>
        </p:nvSpPr>
        <p:spPr>
          <a:xfrm>
            <a:off x="4157378"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65" name="Text Placeholder 31">
            <a:extLst>
              <a:ext uri="{FF2B5EF4-FFF2-40B4-BE49-F238E27FC236}">
                <a16:creationId xmlns:a16="http://schemas.microsoft.com/office/drawing/2014/main" id="{EDFC2B06-95E3-4B46-9D78-C5B889187574}"/>
              </a:ext>
            </a:extLst>
          </p:cNvPr>
          <p:cNvSpPr>
            <a:spLocks noGrp="1"/>
          </p:cNvSpPr>
          <p:nvPr>
            <p:ph type="body" sz="quarter" idx="101" hasCustomPrompt="1"/>
          </p:nvPr>
        </p:nvSpPr>
        <p:spPr>
          <a:xfrm>
            <a:off x="5237088" y="148352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66" name="Text Placeholder 18">
            <a:extLst>
              <a:ext uri="{FF2B5EF4-FFF2-40B4-BE49-F238E27FC236}">
                <a16:creationId xmlns:a16="http://schemas.microsoft.com/office/drawing/2014/main" id="{5C8CF654-7CDC-4671-BA3F-6E43C2F3D930}"/>
              </a:ext>
            </a:extLst>
          </p:cNvPr>
          <p:cNvSpPr>
            <a:spLocks noGrp="1"/>
          </p:cNvSpPr>
          <p:nvPr>
            <p:ph type="body" sz="quarter" idx="102" hasCustomPrompt="1"/>
          </p:nvPr>
        </p:nvSpPr>
        <p:spPr>
          <a:xfrm>
            <a:off x="5802041" y="170821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67" name="Text Placeholder 18">
            <a:extLst>
              <a:ext uri="{FF2B5EF4-FFF2-40B4-BE49-F238E27FC236}">
                <a16:creationId xmlns:a16="http://schemas.microsoft.com/office/drawing/2014/main" id="{AA689F23-6793-46A5-BC3A-C3C394EB61B7}"/>
              </a:ext>
            </a:extLst>
          </p:cNvPr>
          <p:cNvSpPr>
            <a:spLocks noGrp="1"/>
          </p:cNvSpPr>
          <p:nvPr>
            <p:ph type="body" sz="quarter" idx="103" hasCustomPrompt="1"/>
          </p:nvPr>
        </p:nvSpPr>
        <p:spPr>
          <a:xfrm>
            <a:off x="5802040" y="206697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68" name="Text Placeholder 18">
            <a:extLst>
              <a:ext uri="{FF2B5EF4-FFF2-40B4-BE49-F238E27FC236}">
                <a16:creationId xmlns:a16="http://schemas.microsoft.com/office/drawing/2014/main" id="{ED61CF7D-5129-427A-9E6A-C2D5A0108EFF}"/>
              </a:ext>
            </a:extLst>
          </p:cNvPr>
          <p:cNvSpPr>
            <a:spLocks noGrp="1"/>
          </p:cNvSpPr>
          <p:nvPr>
            <p:ph type="body" sz="quarter" idx="104"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3" name="Text Placeholder 18">
            <a:extLst>
              <a:ext uri="{FF2B5EF4-FFF2-40B4-BE49-F238E27FC236}">
                <a16:creationId xmlns:a16="http://schemas.microsoft.com/office/drawing/2014/main" id="{C7919060-BAE1-42EF-8A05-3D8F26EC8E7B}"/>
              </a:ext>
            </a:extLst>
          </p:cNvPr>
          <p:cNvSpPr>
            <a:spLocks noGrp="1"/>
          </p:cNvSpPr>
          <p:nvPr>
            <p:ph type="body" sz="quarter" idx="105" hasCustomPrompt="1"/>
          </p:nvPr>
        </p:nvSpPr>
        <p:spPr>
          <a:xfrm>
            <a:off x="8837254" y="206697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84" name="Text Placeholder 31">
            <a:extLst>
              <a:ext uri="{FF2B5EF4-FFF2-40B4-BE49-F238E27FC236}">
                <a16:creationId xmlns:a16="http://schemas.microsoft.com/office/drawing/2014/main" id="{DA0FFCE8-6B8A-4E0A-9547-C340275471AA}"/>
              </a:ext>
            </a:extLst>
          </p:cNvPr>
          <p:cNvSpPr>
            <a:spLocks noGrp="1"/>
          </p:cNvSpPr>
          <p:nvPr>
            <p:ph type="body" sz="quarter" idx="106" hasCustomPrompt="1"/>
          </p:nvPr>
        </p:nvSpPr>
        <p:spPr>
          <a:xfrm>
            <a:off x="5237088" y="2443594"/>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85" name="Text Placeholder 18">
            <a:extLst>
              <a:ext uri="{FF2B5EF4-FFF2-40B4-BE49-F238E27FC236}">
                <a16:creationId xmlns:a16="http://schemas.microsoft.com/office/drawing/2014/main" id="{B46C006F-C71D-4DE1-A056-5B3A93CF50D9}"/>
              </a:ext>
            </a:extLst>
          </p:cNvPr>
          <p:cNvSpPr>
            <a:spLocks noGrp="1"/>
          </p:cNvSpPr>
          <p:nvPr>
            <p:ph type="body" sz="quarter" idx="107" hasCustomPrompt="1"/>
          </p:nvPr>
        </p:nvSpPr>
        <p:spPr>
          <a:xfrm>
            <a:off x="5802041" y="2668288"/>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86" name="Text Placeholder 18">
            <a:extLst>
              <a:ext uri="{FF2B5EF4-FFF2-40B4-BE49-F238E27FC236}">
                <a16:creationId xmlns:a16="http://schemas.microsoft.com/office/drawing/2014/main" id="{C3771224-2466-4D8A-A811-964F73AA6409}"/>
              </a:ext>
            </a:extLst>
          </p:cNvPr>
          <p:cNvSpPr>
            <a:spLocks noGrp="1"/>
          </p:cNvSpPr>
          <p:nvPr>
            <p:ph type="body" sz="quarter" idx="108" hasCustomPrompt="1"/>
          </p:nvPr>
        </p:nvSpPr>
        <p:spPr>
          <a:xfrm>
            <a:off x="5802040" y="3027043"/>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89" name="Text Placeholder 18">
            <a:extLst>
              <a:ext uri="{FF2B5EF4-FFF2-40B4-BE49-F238E27FC236}">
                <a16:creationId xmlns:a16="http://schemas.microsoft.com/office/drawing/2014/main" id="{76FE5254-0432-4E51-B71F-918A5A083FA8}"/>
              </a:ext>
            </a:extLst>
          </p:cNvPr>
          <p:cNvSpPr>
            <a:spLocks noGrp="1"/>
          </p:cNvSpPr>
          <p:nvPr>
            <p:ph type="body" sz="quarter" idx="109" hasCustomPrompt="1"/>
          </p:nvPr>
        </p:nvSpPr>
        <p:spPr>
          <a:xfrm>
            <a:off x="8837254" y="3027042"/>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0" name="Text Placeholder 31">
            <a:extLst>
              <a:ext uri="{FF2B5EF4-FFF2-40B4-BE49-F238E27FC236}">
                <a16:creationId xmlns:a16="http://schemas.microsoft.com/office/drawing/2014/main" id="{77CAFDB0-A524-4811-9A5F-832074D34A45}"/>
              </a:ext>
            </a:extLst>
          </p:cNvPr>
          <p:cNvSpPr>
            <a:spLocks noGrp="1"/>
          </p:cNvSpPr>
          <p:nvPr>
            <p:ph type="body" sz="quarter" idx="110" hasCustomPrompt="1"/>
          </p:nvPr>
        </p:nvSpPr>
        <p:spPr>
          <a:xfrm>
            <a:off x="5237088" y="3401203"/>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1" name="Text Placeholder 18">
            <a:extLst>
              <a:ext uri="{FF2B5EF4-FFF2-40B4-BE49-F238E27FC236}">
                <a16:creationId xmlns:a16="http://schemas.microsoft.com/office/drawing/2014/main" id="{2F7D0EC5-CECB-4014-B06D-B2DBCBFBBF3D}"/>
              </a:ext>
            </a:extLst>
          </p:cNvPr>
          <p:cNvSpPr>
            <a:spLocks noGrp="1"/>
          </p:cNvSpPr>
          <p:nvPr>
            <p:ph type="body" sz="quarter" idx="111" hasCustomPrompt="1"/>
          </p:nvPr>
        </p:nvSpPr>
        <p:spPr>
          <a:xfrm>
            <a:off x="5802041" y="3625897"/>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2" name="Text Placeholder 18">
            <a:extLst>
              <a:ext uri="{FF2B5EF4-FFF2-40B4-BE49-F238E27FC236}">
                <a16:creationId xmlns:a16="http://schemas.microsoft.com/office/drawing/2014/main" id="{8751CD9A-A0F4-4CC8-8C88-10310AE524D6}"/>
              </a:ext>
            </a:extLst>
          </p:cNvPr>
          <p:cNvSpPr>
            <a:spLocks noGrp="1"/>
          </p:cNvSpPr>
          <p:nvPr>
            <p:ph type="body" sz="quarter" idx="112" hasCustomPrompt="1"/>
          </p:nvPr>
        </p:nvSpPr>
        <p:spPr>
          <a:xfrm>
            <a:off x="5802040" y="3984652"/>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3" name="Text Placeholder 18">
            <a:extLst>
              <a:ext uri="{FF2B5EF4-FFF2-40B4-BE49-F238E27FC236}">
                <a16:creationId xmlns:a16="http://schemas.microsoft.com/office/drawing/2014/main" id="{26FADFFE-C225-4705-860D-DF5D47B6C04F}"/>
              </a:ext>
            </a:extLst>
          </p:cNvPr>
          <p:cNvSpPr>
            <a:spLocks noGrp="1"/>
          </p:cNvSpPr>
          <p:nvPr>
            <p:ph type="body" sz="quarter" idx="113" hasCustomPrompt="1"/>
          </p:nvPr>
        </p:nvSpPr>
        <p:spPr>
          <a:xfrm>
            <a:off x="8837254" y="3984651"/>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94" name="Text Placeholder 31">
            <a:extLst>
              <a:ext uri="{FF2B5EF4-FFF2-40B4-BE49-F238E27FC236}">
                <a16:creationId xmlns:a16="http://schemas.microsoft.com/office/drawing/2014/main" id="{ED08C253-1799-4939-89C2-67FE09035959}"/>
              </a:ext>
            </a:extLst>
          </p:cNvPr>
          <p:cNvSpPr>
            <a:spLocks noGrp="1"/>
          </p:cNvSpPr>
          <p:nvPr>
            <p:ph type="body" sz="quarter" idx="114" hasCustomPrompt="1"/>
          </p:nvPr>
        </p:nvSpPr>
        <p:spPr>
          <a:xfrm>
            <a:off x="5237088" y="4358812"/>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5" name="Text Placeholder 18">
            <a:extLst>
              <a:ext uri="{FF2B5EF4-FFF2-40B4-BE49-F238E27FC236}">
                <a16:creationId xmlns:a16="http://schemas.microsoft.com/office/drawing/2014/main" id="{BA8F5A1C-3DDB-4EB6-A07B-B7ACBC8A5ACC}"/>
              </a:ext>
            </a:extLst>
          </p:cNvPr>
          <p:cNvSpPr>
            <a:spLocks noGrp="1"/>
          </p:cNvSpPr>
          <p:nvPr>
            <p:ph type="body" sz="quarter" idx="115" hasCustomPrompt="1"/>
          </p:nvPr>
        </p:nvSpPr>
        <p:spPr>
          <a:xfrm>
            <a:off x="5802041" y="4583506"/>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96" name="Text Placeholder 18">
            <a:extLst>
              <a:ext uri="{FF2B5EF4-FFF2-40B4-BE49-F238E27FC236}">
                <a16:creationId xmlns:a16="http://schemas.microsoft.com/office/drawing/2014/main" id="{C6330ADC-D7C7-4EFD-8348-FF37C7A173BC}"/>
              </a:ext>
            </a:extLst>
          </p:cNvPr>
          <p:cNvSpPr>
            <a:spLocks noGrp="1"/>
          </p:cNvSpPr>
          <p:nvPr>
            <p:ph type="body" sz="quarter" idx="116" hasCustomPrompt="1"/>
          </p:nvPr>
        </p:nvSpPr>
        <p:spPr>
          <a:xfrm>
            <a:off x="5802040" y="4942261"/>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97" name="Text Placeholder 18">
            <a:extLst>
              <a:ext uri="{FF2B5EF4-FFF2-40B4-BE49-F238E27FC236}">
                <a16:creationId xmlns:a16="http://schemas.microsoft.com/office/drawing/2014/main" id="{81AE0480-C514-4AD9-8691-694E141EE29E}"/>
              </a:ext>
            </a:extLst>
          </p:cNvPr>
          <p:cNvSpPr>
            <a:spLocks noGrp="1"/>
          </p:cNvSpPr>
          <p:nvPr>
            <p:ph type="body" sz="quarter" idx="117" hasCustomPrompt="1"/>
          </p:nvPr>
        </p:nvSpPr>
        <p:spPr>
          <a:xfrm>
            <a:off x="8837254" y="4942260"/>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9" name="Text Placeholder 31">
            <a:extLst>
              <a:ext uri="{FF2B5EF4-FFF2-40B4-BE49-F238E27FC236}">
                <a16:creationId xmlns:a16="http://schemas.microsoft.com/office/drawing/2014/main" id="{7268FDA8-F92E-4936-B990-FD4E9F0CC01D}"/>
              </a:ext>
            </a:extLst>
          </p:cNvPr>
          <p:cNvSpPr>
            <a:spLocks noGrp="1"/>
          </p:cNvSpPr>
          <p:nvPr>
            <p:ph type="body" sz="quarter" idx="118" hasCustomPrompt="1"/>
          </p:nvPr>
        </p:nvSpPr>
        <p:spPr>
          <a:xfrm>
            <a:off x="557212"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0" name="Text Placeholder 18">
            <a:extLst>
              <a:ext uri="{FF2B5EF4-FFF2-40B4-BE49-F238E27FC236}">
                <a16:creationId xmlns:a16="http://schemas.microsoft.com/office/drawing/2014/main" id="{37FDC6EC-A640-488F-9644-3FDD22493BD3}"/>
              </a:ext>
            </a:extLst>
          </p:cNvPr>
          <p:cNvSpPr>
            <a:spLocks noGrp="1"/>
          </p:cNvSpPr>
          <p:nvPr>
            <p:ph type="body" sz="quarter" idx="119" hasCustomPrompt="1"/>
          </p:nvPr>
        </p:nvSpPr>
        <p:spPr>
          <a:xfrm>
            <a:off x="1122165"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1" name="Text Placeholder 18">
            <a:extLst>
              <a:ext uri="{FF2B5EF4-FFF2-40B4-BE49-F238E27FC236}">
                <a16:creationId xmlns:a16="http://schemas.microsoft.com/office/drawing/2014/main" id="{1873EAFB-A062-4833-B06F-62FD2E7C3DF9}"/>
              </a:ext>
            </a:extLst>
          </p:cNvPr>
          <p:cNvSpPr>
            <a:spLocks noGrp="1"/>
          </p:cNvSpPr>
          <p:nvPr>
            <p:ph type="body" sz="quarter" idx="120" hasCustomPrompt="1"/>
          </p:nvPr>
        </p:nvSpPr>
        <p:spPr>
          <a:xfrm>
            <a:off x="1122164"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2" name="Text Placeholder 18">
            <a:extLst>
              <a:ext uri="{FF2B5EF4-FFF2-40B4-BE49-F238E27FC236}">
                <a16:creationId xmlns:a16="http://schemas.microsoft.com/office/drawing/2014/main" id="{EE221A43-C270-4544-94DF-1ABABF451BBD}"/>
              </a:ext>
            </a:extLst>
          </p:cNvPr>
          <p:cNvSpPr>
            <a:spLocks noGrp="1"/>
          </p:cNvSpPr>
          <p:nvPr>
            <p:ph type="body" sz="quarter" idx="121" hasCustomPrompt="1"/>
          </p:nvPr>
        </p:nvSpPr>
        <p:spPr>
          <a:xfrm>
            <a:off x="4157378"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43" name="Text Placeholder 31">
            <a:extLst>
              <a:ext uri="{FF2B5EF4-FFF2-40B4-BE49-F238E27FC236}">
                <a16:creationId xmlns:a16="http://schemas.microsoft.com/office/drawing/2014/main" id="{9D8E4515-6F96-4F02-B988-811445E2351C}"/>
              </a:ext>
            </a:extLst>
          </p:cNvPr>
          <p:cNvSpPr>
            <a:spLocks noGrp="1"/>
          </p:cNvSpPr>
          <p:nvPr>
            <p:ph type="body" sz="quarter" idx="122" hasCustomPrompt="1"/>
          </p:nvPr>
        </p:nvSpPr>
        <p:spPr>
          <a:xfrm>
            <a:off x="5237088" y="5315979"/>
            <a:ext cx="433388" cy="533396"/>
          </a:xfrm>
          <a:solidFill>
            <a:schemeClr val="accent1"/>
          </a:solidFill>
        </p:spPr>
        <p:txBody>
          <a:bodyPr tIns="205200" anchor="t"/>
          <a:lstStyle>
            <a:lvl1pPr marL="0" algn="ctr">
              <a:spcBef>
                <a:spcPts val="981"/>
              </a:spcBef>
              <a:defRPr b="1" spc="-61"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44" name="Text Placeholder 18">
            <a:extLst>
              <a:ext uri="{FF2B5EF4-FFF2-40B4-BE49-F238E27FC236}">
                <a16:creationId xmlns:a16="http://schemas.microsoft.com/office/drawing/2014/main" id="{A17A929F-E044-48C5-9DD8-B47C3EF2AE1C}"/>
              </a:ext>
            </a:extLst>
          </p:cNvPr>
          <p:cNvSpPr>
            <a:spLocks noGrp="1"/>
          </p:cNvSpPr>
          <p:nvPr>
            <p:ph type="body" sz="quarter" idx="123" hasCustomPrompt="1"/>
          </p:nvPr>
        </p:nvSpPr>
        <p:spPr>
          <a:xfrm>
            <a:off x="5802041" y="5540673"/>
            <a:ext cx="3412926" cy="248579"/>
          </a:xfrm>
        </p:spPr>
        <p:txBody>
          <a:bodyPr wrap="square" tIns="14400" anchor="b">
            <a:spAutoFit/>
          </a:bodyPr>
          <a:lstStyle>
            <a:lvl1pPr marL="8775">
              <a:spcBef>
                <a:spcPts val="61"/>
              </a:spcBef>
              <a:defRPr sz="1524" b="0">
                <a:solidFill>
                  <a:schemeClr val="tx2"/>
                </a:solidFill>
                <a:latin typeface="+mj-lt"/>
              </a:defRPr>
            </a:lvl1pPr>
            <a:lvl2pPr>
              <a:defRPr sz="914">
                <a:solidFill>
                  <a:schemeClr val="accent3"/>
                </a:solidFill>
              </a:defRPr>
            </a:lvl2pPr>
            <a:lvl3pPr>
              <a:defRPr sz="792"/>
            </a:lvl3pPr>
          </a:lstStyle>
          <a:p>
            <a:pPr lvl="0"/>
            <a:r>
              <a:rPr lang="en-US" dirty="0"/>
              <a:t>Heading</a:t>
            </a:r>
          </a:p>
        </p:txBody>
      </p:sp>
      <p:sp>
        <p:nvSpPr>
          <p:cNvPr id="45" name="Text Placeholder 18">
            <a:extLst>
              <a:ext uri="{FF2B5EF4-FFF2-40B4-BE49-F238E27FC236}">
                <a16:creationId xmlns:a16="http://schemas.microsoft.com/office/drawing/2014/main" id="{5D5ECF6A-91FB-4513-9425-F01C4C10BAB1}"/>
              </a:ext>
            </a:extLst>
          </p:cNvPr>
          <p:cNvSpPr>
            <a:spLocks noGrp="1"/>
          </p:cNvSpPr>
          <p:nvPr>
            <p:ph type="body" sz="quarter" idx="124" hasCustomPrompt="1"/>
          </p:nvPr>
        </p:nvSpPr>
        <p:spPr>
          <a:xfrm>
            <a:off x="5802040" y="5899428"/>
            <a:ext cx="2965562"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Lorem ipsum</a:t>
            </a:r>
          </a:p>
        </p:txBody>
      </p:sp>
      <p:sp>
        <p:nvSpPr>
          <p:cNvPr id="46" name="Text Placeholder 18">
            <a:extLst>
              <a:ext uri="{FF2B5EF4-FFF2-40B4-BE49-F238E27FC236}">
                <a16:creationId xmlns:a16="http://schemas.microsoft.com/office/drawing/2014/main" id="{2F7DB677-C811-448B-9E9D-A05B83375084}"/>
              </a:ext>
            </a:extLst>
          </p:cNvPr>
          <p:cNvSpPr>
            <a:spLocks noGrp="1"/>
          </p:cNvSpPr>
          <p:nvPr>
            <p:ph type="body" sz="quarter" idx="125" hasCustomPrompt="1"/>
          </p:nvPr>
        </p:nvSpPr>
        <p:spPr>
          <a:xfrm>
            <a:off x="8837254" y="5899427"/>
            <a:ext cx="377713" cy="173880"/>
          </a:xfrm>
          <a:noFill/>
        </p:spPr>
        <p:txBody>
          <a:bodyPr wrap="square" tIns="14400" rIns="108000">
            <a:spAutoFit/>
          </a:bodyPr>
          <a:lstStyle>
            <a:lvl1pPr marL="8775">
              <a:lnSpc>
                <a:spcPct val="128000"/>
              </a:lnSpc>
              <a:spcBef>
                <a:spcPts val="61"/>
              </a:spcBef>
              <a:defRPr sz="914">
                <a:solidFill>
                  <a:schemeClr val="tx2"/>
                </a:solidFill>
              </a:defRPr>
            </a:lvl1pPr>
            <a:lvl2pPr>
              <a:defRPr sz="914">
                <a:solidFill>
                  <a:schemeClr val="accent3"/>
                </a:solidFill>
              </a:defRPr>
            </a:lvl2pPr>
            <a:lvl3pPr>
              <a:defRPr sz="792"/>
            </a:lvl3pPr>
          </a:lstStyle>
          <a:p>
            <a:pPr lvl="0"/>
            <a:r>
              <a:rPr lang="en-US" dirty="0"/>
              <a:t>00</a:t>
            </a:r>
          </a:p>
        </p:txBody>
      </p:sp>
      <p:sp>
        <p:nvSpPr>
          <p:cNvPr id="3" name="Footer Placeholder 2">
            <a:extLst>
              <a:ext uri="{FF2B5EF4-FFF2-40B4-BE49-F238E27FC236}">
                <a16:creationId xmlns:a16="http://schemas.microsoft.com/office/drawing/2014/main" id="{AD23DF68-D79F-4DB1-B4FD-A39341DF1E94}"/>
              </a:ext>
            </a:extLst>
          </p:cNvPr>
          <p:cNvSpPr>
            <a:spLocks noGrp="1"/>
          </p:cNvSpPr>
          <p:nvPr>
            <p:ph type="ftr" sz="quarter" idx="126"/>
          </p:nvPr>
        </p:nvSpPr>
        <p:spPr/>
        <p:txBody>
          <a:bodyPr/>
          <a:lstStyle/>
          <a:p>
            <a:endParaRPr lang="en-US" dirty="0"/>
          </a:p>
        </p:txBody>
      </p:sp>
      <p:sp>
        <p:nvSpPr>
          <p:cNvPr id="47" name="Titre 3">
            <a:extLst>
              <a:ext uri="{FF2B5EF4-FFF2-40B4-BE49-F238E27FC236}">
                <a16:creationId xmlns:a16="http://schemas.microsoft.com/office/drawing/2014/main" id="{44057687-C51E-48EF-8ABC-CF8D8466DAEB}"/>
              </a:ext>
            </a:extLst>
          </p:cNvPr>
          <p:cNvSpPr>
            <a:spLocks noGrp="1"/>
          </p:cNvSpPr>
          <p:nvPr>
            <p:ph type="title" hasCustomPrompt="1"/>
          </p:nvPr>
        </p:nvSpPr>
        <p:spPr>
          <a:xfrm>
            <a:off x="549580" y="697701"/>
            <a:ext cx="7324075" cy="771656"/>
          </a:xfrm>
          <a:prstGeom prst="rect">
            <a:avLst/>
          </a:prstGeom>
        </p:spPr>
        <p:txBody>
          <a:bodyPr lIns="0" tIns="0" rIns="0" bIns="0"/>
          <a:lstStyle>
            <a:lvl1pPr>
              <a:defRPr sz="2742" b="1">
                <a:solidFill>
                  <a:schemeClr val="accent2"/>
                </a:solidFill>
              </a:defRPr>
            </a:lvl1pPr>
          </a:lstStyle>
          <a:p>
            <a:r>
              <a:rPr lang="fr-FR" dirty="0"/>
              <a:t>Contents</a:t>
            </a:r>
          </a:p>
        </p:txBody>
      </p:sp>
    </p:spTree>
    <p:extLst>
      <p:ext uri="{BB962C8B-B14F-4D97-AF65-F5344CB8AC3E}">
        <p14:creationId xmlns:p14="http://schemas.microsoft.com/office/powerpoint/2010/main" val="35730361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_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5473"/>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rgbClr val="005473"/>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07040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e + image 2">
    <p:spTree>
      <p:nvGrpSpPr>
        <p:cNvPr id="1" name=""/>
        <p:cNvGrpSpPr/>
        <p:nvPr/>
      </p:nvGrpSpPr>
      <p:grpSpPr>
        <a:xfrm>
          <a:off x="0" y="0"/>
          <a:ext cx="0" cy="0"/>
          <a:chOff x="0" y="0"/>
          <a:chExt cx="0" cy="0"/>
        </a:xfrm>
      </p:grpSpPr>
      <p:pic>
        <p:nvPicPr>
          <p:cNvPr id="14" name="Picture 1" descr="img_meia_puzzl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067301"/>
            <a:ext cx="9906000" cy="1798320"/>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3" name="Imag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0336" y="6093107"/>
            <a:ext cx="784356" cy="525600"/>
          </a:xfrm>
          <a:prstGeom prst="rect">
            <a:avLst/>
          </a:prstGeom>
        </p:spPr>
      </p:pic>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3946969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FB4F8E80-3E00-4293-AA10-F1AF0AB1D9FC}"/>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531882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 Image">
    <p:bg>
      <p:bgPr>
        <a:solidFill>
          <a:schemeClr val="accent1"/>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chemeClr val="tx2"/>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chemeClr val="tx2"/>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tx2"/>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2" name="Holder 2">
            <a:extLst>
              <a:ext uri="{FF2B5EF4-FFF2-40B4-BE49-F238E27FC236}">
                <a16:creationId xmlns:a16="http://schemas.microsoft.com/office/drawing/2014/main" id="{85B5B0C2-1E62-4343-9450-2B0AC120F213}"/>
              </a:ext>
            </a:extLst>
          </p:cNvPr>
          <p:cNvSpPr>
            <a:spLocks noGrp="1"/>
          </p:cNvSpPr>
          <p:nvPr>
            <p:ph type="ctrTitle" hasCustomPrompt="1"/>
          </p:nvPr>
        </p:nvSpPr>
        <p:spPr>
          <a:xfrm>
            <a:off x="2105025" y="2057394"/>
            <a:ext cx="4457700" cy="27432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6" name="Footer Placeholder 5">
            <a:extLst>
              <a:ext uri="{FF2B5EF4-FFF2-40B4-BE49-F238E27FC236}">
                <a16:creationId xmlns:a16="http://schemas.microsoft.com/office/drawing/2014/main" id="{E6243129-780B-4E39-9EAF-CD2ED887D3C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129845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 Subchapter">
    <p:bg>
      <p:bgPr>
        <a:solidFill>
          <a:schemeClr val="tx2"/>
        </a:solidFill>
        <a:effectLst/>
      </p:bgPr>
    </p:bg>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363" y="485445"/>
            <a:ext cx="1114424"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bg1"/>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5473"/>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5473"/>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97051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990600" y="1371600"/>
            <a:ext cx="5572125" cy="34290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sp>
        <p:nvSpPr>
          <p:cNvPr id="3" name="object 8">
            <a:extLst>
              <a:ext uri="{FF2B5EF4-FFF2-40B4-BE49-F238E27FC236}">
                <a16:creationId xmlns:a16="http://schemas.microsoft.com/office/drawing/2014/main" id="{1E27FD28-384C-49C5-8B58-E9BD162E8CEB}"/>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6" name="object 9">
            <a:extLst>
              <a:ext uri="{FF2B5EF4-FFF2-40B4-BE49-F238E27FC236}">
                <a16:creationId xmlns:a16="http://schemas.microsoft.com/office/drawing/2014/main" id="{CD658198-6E69-4296-BD01-49F0474343E5}"/>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rgbClr val="00AA9B"/>
          </a:solidFill>
        </p:spPr>
        <p:txBody>
          <a:bodyPr wrap="square" lIns="0" tIns="0" rIns="0" bIns="0" rtlCol="0"/>
          <a:lstStyle/>
          <a:p>
            <a:endParaRPr sz="731"/>
          </a:p>
        </p:txBody>
      </p:sp>
      <p:sp>
        <p:nvSpPr>
          <p:cNvPr id="7" name="object 10">
            <a:extLst>
              <a:ext uri="{FF2B5EF4-FFF2-40B4-BE49-F238E27FC236}">
                <a16:creationId xmlns:a16="http://schemas.microsoft.com/office/drawing/2014/main" id="{76A93DBD-7AD0-4E6B-85F7-D5A7E6BA4DEB}"/>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rgbClr val="00AA9B"/>
          </a:solidFill>
        </p:spPr>
        <p:txBody>
          <a:bodyPr wrap="square" lIns="0" tIns="0" rIns="0" bIns="0" rtlCol="0"/>
          <a:lstStyle/>
          <a:p>
            <a:endParaRPr sz="731"/>
          </a:p>
        </p:txBody>
      </p:sp>
      <p:sp>
        <p:nvSpPr>
          <p:cNvPr id="5" name="Footer Placeholder 4">
            <a:extLst>
              <a:ext uri="{FF2B5EF4-FFF2-40B4-BE49-F238E27FC236}">
                <a16:creationId xmlns:a16="http://schemas.microsoft.com/office/drawing/2014/main" id="{7EB2E17A-B074-4992-808F-54F62E798CC8}"/>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863986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chapter + Image">
    <p:bg>
      <p:bgPr>
        <a:solidFill>
          <a:schemeClr val="accent1"/>
        </a:soli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76858CF1-1FE0-48C5-9C43-47EFD7F92F9E}"/>
              </a:ext>
            </a:extLst>
          </p:cNvPr>
          <p:cNvSpPr>
            <a:spLocks noGrp="1"/>
          </p:cNvSpPr>
          <p:nvPr>
            <p:ph type="ctrTitle" hasCustomPrompt="1"/>
          </p:nvPr>
        </p:nvSpPr>
        <p:spPr>
          <a:xfrm>
            <a:off x="990600" y="1371600"/>
            <a:ext cx="5572125" cy="3429000"/>
          </a:xfrm>
          <a:prstGeom prst="rect">
            <a:avLst/>
          </a:prstGeom>
          <a:solidFill>
            <a:schemeClr val="bg1"/>
          </a:solidFill>
        </p:spPr>
        <p:txBody>
          <a:bodyPr wrap="square" lIns="0" tIns="410400" rIns="0" bIns="0">
            <a:noAutofit/>
          </a:bodyPr>
          <a:lstStyle>
            <a:lvl1pPr marL="232547" algn="l">
              <a:spcBef>
                <a:spcPts val="1965"/>
              </a:spcBef>
              <a:defRPr sz="2742">
                <a:solidFill>
                  <a:schemeClr val="tx2"/>
                </a:solidFill>
              </a:defRPr>
            </a:lvl1pPr>
          </a:lstStyle>
          <a:p>
            <a:r>
              <a:rPr lang="en-US" noProof="0" dirty="0"/>
              <a:t>00.Subheading</a:t>
            </a:r>
          </a:p>
        </p:txBody>
      </p:sp>
      <p:pic>
        <p:nvPicPr>
          <p:cNvPr id="2" name="Graphique 30">
            <a:extLst>
              <a:ext uri="{FF2B5EF4-FFF2-40B4-BE49-F238E27FC236}">
                <a16:creationId xmlns:a16="http://schemas.microsoft.com/office/drawing/2014/main" id="{1ABED16D-E05F-4052-AFDC-7D0B069E48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4" name="Footer Placeholder 3">
            <a:extLst>
              <a:ext uri="{FF2B5EF4-FFF2-40B4-BE49-F238E27FC236}">
                <a16:creationId xmlns:a16="http://schemas.microsoft.com/office/drawing/2014/main" id="{6CB56387-D400-4873-990C-66F86EBA3E9E}"/>
              </a:ext>
            </a:extLst>
          </p:cNvPr>
          <p:cNvSpPr>
            <a:spLocks noGrp="1"/>
          </p:cNvSpPr>
          <p:nvPr>
            <p:ph type="ftr" sz="quarter" idx="10"/>
          </p:nvPr>
        </p:nvSpPr>
        <p:spPr/>
        <p:txBody>
          <a:bodyPr/>
          <a:lstStyle/>
          <a:p>
            <a:endParaRPr lang="en-US" dirty="0"/>
          </a:p>
        </p:txBody>
      </p:sp>
      <p:sp>
        <p:nvSpPr>
          <p:cNvPr id="5" name="object 8">
            <a:extLst>
              <a:ext uri="{FF2B5EF4-FFF2-40B4-BE49-F238E27FC236}">
                <a16:creationId xmlns:a16="http://schemas.microsoft.com/office/drawing/2014/main" id="{9EE1458B-1ACC-4A60-A6DA-3A183AD4A703}"/>
              </a:ext>
            </a:extLst>
          </p:cNvPr>
          <p:cNvSpPr/>
          <p:nvPr userDrawn="1"/>
        </p:nvSpPr>
        <p:spPr>
          <a:xfrm>
            <a:off x="6005513" y="6857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chemeClr val="tx2"/>
          </a:solidFill>
        </p:spPr>
        <p:txBody>
          <a:bodyPr wrap="square" lIns="0" tIns="0" rIns="0" bIns="0" rtlCol="0"/>
          <a:lstStyle/>
          <a:p>
            <a:endParaRPr sz="731"/>
          </a:p>
        </p:txBody>
      </p:sp>
      <p:sp>
        <p:nvSpPr>
          <p:cNvPr id="6" name="object 9">
            <a:extLst>
              <a:ext uri="{FF2B5EF4-FFF2-40B4-BE49-F238E27FC236}">
                <a16:creationId xmlns:a16="http://schemas.microsoft.com/office/drawing/2014/main" id="{C14AF817-4FA3-4511-BF85-552078C6E679}"/>
              </a:ext>
            </a:extLst>
          </p:cNvPr>
          <p:cNvSpPr/>
          <p:nvPr userDrawn="1"/>
        </p:nvSpPr>
        <p:spPr>
          <a:xfrm>
            <a:off x="434524" y="4800600"/>
            <a:ext cx="556439" cy="684848"/>
          </a:xfrm>
          <a:custGeom>
            <a:avLst/>
            <a:gdLst/>
            <a:ahLst/>
            <a:cxnLst/>
            <a:rect l="l" t="t" r="r" b="b"/>
            <a:pathLst>
              <a:path w="913130" h="913129">
                <a:moveTo>
                  <a:pt x="912533" y="0"/>
                </a:moveTo>
                <a:lnTo>
                  <a:pt x="0" y="0"/>
                </a:lnTo>
                <a:lnTo>
                  <a:pt x="0" y="912533"/>
                </a:lnTo>
                <a:lnTo>
                  <a:pt x="912533" y="912533"/>
                </a:lnTo>
                <a:lnTo>
                  <a:pt x="912533" y="0"/>
                </a:lnTo>
                <a:close/>
              </a:path>
            </a:pathLst>
          </a:custGeom>
          <a:solidFill>
            <a:schemeClr val="tx2"/>
          </a:solidFill>
        </p:spPr>
        <p:txBody>
          <a:bodyPr wrap="square" lIns="0" tIns="0" rIns="0" bIns="0" rtlCol="0"/>
          <a:lstStyle/>
          <a:p>
            <a:endParaRPr sz="731"/>
          </a:p>
        </p:txBody>
      </p:sp>
      <p:sp>
        <p:nvSpPr>
          <p:cNvPr id="7" name="object 10">
            <a:extLst>
              <a:ext uri="{FF2B5EF4-FFF2-40B4-BE49-F238E27FC236}">
                <a16:creationId xmlns:a16="http://schemas.microsoft.com/office/drawing/2014/main" id="{C87F872C-9C1D-4419-83CD-C89DB3A9AD0E}"/>
              </a:ext>
            </a:extLst>
          </p:cNvPr>
          <p:cNvSpPr/>
          <p:nvPr userDrawn="1"/>
        </p:nvSpPr>
        <p:spPr>
          <a:xfrm>
            <a:off x="8791575" y="4114800"/>
            <a:ext cx="1112490" cy="1370648"/>
          </a:xfrm>
          <a:custGeom>
            <a:avLst/>
            <a:gdLst/>
            <a:ahLst/>
            <a:cxnLst/>
            <a:rect l="l" t="t" r="r" b="b"/>
            <a:pathLst>
              <a:path w="1825625" h="1827529">
                <a:moveTo>
                  <a:pt x="912533" y="914400"/>
                </a:moveTo>
                <a:lnTo>
                  <a:pt x="0" y="914400"/>
                </a:lnTo>
                <a:lnTo>
                  <a:pt x="0" y="1826933"/>
                </a:lnTo>
                <a:lnTo>
                  <a:pt x="912533" y="1826933"/>
                </a:lnTo>
                <a:lnTo>
                  <a:pt x="912533" y="914400"/>
                </a:lnTo>
                <a:close/>
              </a:path>
              <a:path w="1825625" h="1827529">
                <a:moveTo>
                  <a:pt x="1825066" y="0"/>
                </a:moveTo>
                <a:lnTo>
                  <a:pt x="912533" y="0"/>
                </a:lnTo>
                <a:lnTo>
                  <a:pt x="912533" y="912533"/>
                </a:lnTo>
                <a:lnTo>
                  <a:pt x="1825066" y="912533"/>
                </a:lnTo>
                <a:lnTo>
                  <a:pt x="1825066" y="0"/>
                </a:lnTo>
                <a:close/>
              </a:path>
            </a:pathLst>
          </a:custGeom>
          <a:solidFill>
            <a:schemeClr val="tx2"/>
          </a:solidFill>
        </p:spPr>
        <p:txBody>
          <a:bodyPr wrap="square" lIns="0" tIns="0" rIns="0" bIns="0" rtlCol="0"/>
          <a:lstStyle/>
          <a:p>
            <a:endParaRPr sz="731"/>
          </a:p>
        </p:txBody>
      </p:sp>
    </p:spTree>
    <p:extLst>
      <p:ext uri="{BB962C8B-B14F-4D97-AF65-F5344CB8AC3E}">
        <p14:creationId xmlns:p14="http://schemas.microsoft.com/office/powerpoint/2010/main" val="2980599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1 tex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422106"/>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64074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1 text with bulle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5" name="Text Placeholder 4">
            <a:extLst>
              <a:ext uri="{FF2B5EF4-FFF2-40B4-BE49-F238E27FC236}">
                <a16:creationId xmlns:a16="http://schemas.microsoft.com/office/drawing/2014/main" id="{BECE8123-F90C-482A-B61B-A26D8CF8D6A3}"/>
              </a:ext>
            </a:extLst>
          </p:cNvPr>
          <p:cNvSpPr>
            <a:spLocks noGrp="1"/>
          </p:cNvSpPr>
          <p:nvPr>
            <p:ph type="body" sz="quarter" idx="14" hasCustomPrompt="1"/>
          </p:nvPr>
        </p:nvSpPr>
        <p:spPr>
          <a:xfrm>
            <a:off x="549473" y="1989474"/>
            <a:ext cx="8694148" cy="1372477"/>
          </a:xfrm>
        </p:spPr>
        <p:txBody>
          <a:bodyPr wrap="square">
            <a:spAutoFit/>
          </a:bodyPr>
          <a:lstStyle>
            <a:lvl1pPr marL="110286" indent="-120661">
              <a:buClr>
                <a:schemeClr val="tx2"/>
              </a:buClr>
              <a:buFont typeface="Wingdings" panose="05000000000000000000" pitchFamily="2" charset="2"/>
              <a:buChar char="§"/>
              <a:tabLst/>
              <a:defRPr/>
            </a:lvl1pPr>
            <a:lvl2pPr marL="175507" indent="-120661">
              <a:buFont typeface="Wingdings" panose="05000000000000000000" pitchFamily="2" charset="2"/>
              <a:buChar char="§"/>
              <a:defRPr/>
            </a:lvl2pPr>
            <a:lvl3pPr marL="241322" indent="-119960">
              <a:buClr>
                <a:srgbClr val="005473"/>
              </a:buClr>
              <a:buFont typeface="Wingdings" panose="05000000000000000000" pitchFamily="2" charset="2"/>
              <a:buChar char="§"/>
              <a:defRPr/>
            </a:lvl3pPr>
            <a:lvl4pPr marL="307138" indent="-109692">
              <a:defRPr sz="914">
                <a:solidFill>
                  <a:schemeClr val="tx2"/>
                </a:solidFill>
              </a:defRPr>
            </a:lvl4pPr>
            <a:lvl5pPr marL="372953" indent="-120661">
              <a:buFont typeface="Wingdings" panose="05000000000000000000" pitchFamily="2" charset="2"/>
              <a:buChar char="§"/>
              <a:defRPr sz="792">
                <a:solidFill>
                  <a:schemeClr val="accent1"/>
                </a:solidFill>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D540DC21-46FB-495D-89FC-BAF7F7314A8F}"/>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0557596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10" name="Text Placeholder 18">
            <a:extLst>
              <a:ext uri="{FF2B5EF4-FFF2-40B4-BE49-F238E27FC236}">
                <a16:creationId xmlns:a16="http://schemas.microsoft.com/office/drawing/2014/main" id="{3146CF11-ED2C-4591-88BE-369AC6EB33AE}"/>
              </a:ext>
            </a:extLst>
          </p:cNvPr>
          <p:cNvSpPr>
            <a:spLocks noGrp="1"/>
          </p:cNvSpPr>
          <p:nvPr>
            <p:ph type="body" sz="quarter" idx="13" hasCustomPrompt="1"/>
          </p:nvPr>
        </p:nvSpPr>
        <p:spPr>
          <a:xfrm>
            <a:off x="5223868"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 name="Footer Placeholder 1">
            <a:extLst>
              <a:ext uri="{FF2B5EF4-FFF2-40B4-BE49-F238E27FC236}">
                <a16:creationId xmlns:a16="http://schemas.microsoft.com/office/drawing/2014/main" id="{6E2ED684-1935-43C9-97F6-752417592442}"/>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7213815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3 tex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0" name="Text Placeholder 18">
            <a:extLst>
              <a:ext uri="{FF2B5EF4-FFF2-40B4-BE49-F238E27FC236}">
                <a16:creationId xmlns:a16="http://schemas.microsoft.com/office/drawing/2014/main" id="{1832D763-A691-4EC4-9C13-3AFE8C7787EA}"/>
              </a:ext>
            </a:extLst>
          </p:cNvPr>
          <p:cNvSpPr>
            <a:spLocks noGrp="1"/>
          </p:cNvSpPr>
          <p:nvPr>
            <p:ph type="body" sz="quarter" idx="13" hasCustomPrompt="1"/>
          </p:nvPr>
        </p:nvSpPr>
        <p:spPr>
          <a:xfrm>
            <a:off x="366573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21" name="Text Placeholder 18">
            <a:extLst>
              <a:ext uri="{FF2B5EF4-FFF2-40B4-BE49-F238E27FC236}">
                <a16:creationId xmlns:a16="http://schemas.microsoft.com/office/drawing/2014/main" id="{32815573-BF96-4315-998A-9A2D6B6189C5}"/>
              </a:ext>
            </a:extLst>
          </p:cNvPr>
          <p:cNvSpPr>
            <a:spLocks noGrp="1"/>
          </p:cNvSpPr>
          <p:nvPr>
            <p:ph type="body" sz="quarter" idx="14" hasCustomPrompt="1"/>
          </p:nvPr>
        </p:nvSpPr>
        <p:spPr>
          <a:xfrm>
            <a:off x="6781995" y="1989474"/>
            <a:ext cx="2566789" cy="1441779"/>
          </a:xfrm>
        </p:spPr>
        <p:txBody>
          <a:bodyPr>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97E27E1-2C18-42F3-914E-B1AF02DA0F3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400262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 name="Footer Placeholder 2">
            <a:extLst>
              <a:ext uri="{FF2B5EF4-FFF2-40B4-BE49-F238E27FC236}">
                <a16:creationId xmlns:a16="http://schemas.microsoft.com/office/drawing/2014/main" id="{4748C2F0-8F0D-4C02-9F19-6DF2108E0FA0}"/>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20759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e + image 3">
    <p:spTree>
      <p:nvGrpSpPr>
        <p:cNvPr id="1" name=""/>
        <p:cNvGrpSpPr/>
        <p:nvPr/>
      </p:nvGrpSpPr>
      <p:grpSpPr>
        <a:xfrm>
          <a:off x="0" y="0"/>
          <a:ext cx="0" cy="0"/>
          <a:chOff x="0" y="0"/>
          <a:chExt cx="0" cy="0"/>
        </a:xfrm>
      </p:grpSpPr>
      <p:pic>
        <p:nvPicPr>
          <p:cNvPr id="11"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047226"/>
            <a:ext cx="9906000" cy="1810774"/>
          </a:xfrm>
          <a:prstGeom prst="rect">
            <a:avLst/>
          </a:prstGeom>
        </p:spPr>
      </p:pic>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a:xfrm>
            <a:off x="619433"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1AE67-A6AF-4140-9B54-D4B451EC2AAF}" type="slidenum">
              <a:rPr lang="fr-FR" smtClean="0"/>
              <a:t>‹N°›</a:t>
            </a:fld>
            <a:endParaRPr lang="fr-FR"/>
          </a:p>
        </p:txBody>
      </p:sp>
      <p:sp>
        <p:nvSpPr>
          <p:cNvPr id="9" name="TextBox 8"/>
          <p:cNvSpPr txBox="1"/>
          <p:nvPr userDrawn="1"/>
        </p:nvSpPr>
        <p:spPr>
          <a:xfrm>
            <a:off x="0" y="4965701"/>
            <a:ext cx="9906000" cy="101600"/>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sp>
        <p:nvSpPr>
          <p:cNvPr id="12" name="Content Placeholder 2"/>
          <p:cNvSpPr>
            <a:spLocks noGrp="1"/>
          </p:cNvSpPr>
          <p:nvPr>
            <p:ph idx="13"/>
          </p:nvPr>
        </p:nvSpPr>
        <p:spPr>
          <a:xfrm>
            <a:off x="5073099" y="1248355"/>
            <a:ext cx="4189236" cy="3443709"/>
          </a:xfrm>
        </p:spPr>
        <p:txBody>
          <a:bodyPr/>
          <a:lstStyle>
            <a:lvl1pPr>
              <a:lnSpc>
                <a:spcPct val="100000"/>
              </a:lnSpc>
              <a:spcBef>
                <a:spcPts val="600"/>
              </a:spcBef>
              <a:spcAft>
                <a:spcPts val="500"/>
              </a:spcAft>
              <a:defRPr sz="2000"/>
            </a:lvl1pPr>
            <a:lvl2pPr>
              <a:spcBef>
                <a:spcPts val="0"/>
              </a:spcBef>
              <a:defRPr/>
            </a:lvl2pPr>
            <a:lvl3pPr>
              <a:spcBef>
                <a:spcPts val="0"/>
              </a:spcBef>
              <a:defRPr/>
            </a:lvl3pPr>
            <a:lvl4pPr>
              <a:spcBef>
                <a:spcPts val="0"/>
              </a:spcBef>
              <a:defRPr/>
            </a:lvl4pPr>
            <a:lvl5pPr>
              <a:spcBef>
                <a:spcPts val="0"/>
              </a:spcBef>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228222523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ext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A6FBA34-91D9-42CD-A3FE-DC53ABE99F66}"/>
              </a:ext>
            </a:extLst>
          </p:cNvPr>
          <p:cNvSpPr>
            <a:spLocks noGrp="1"/>
          </p:cNvSpPr>
          <p:nvPr>
            <p:ph type="pic" sz="quarter" idx="13" hasCustomPrompt="1"/>
          </p:nvPr>
        </p:nvSpPr>
        <p:spPr>
          <a:xfrm>
            <a:off x="5231606" y="2057400"/>
            <a:ext cx="4117181" cy="4102899"/>
          </a:xfrm>
          <a:solidFill>
            <a:schemeClr val="bg2"/>
          </a:solidFill>
          <a:ln>
            <a:noFill/>
          </a:ln>
        </p:spPr>
        <p:txBody>
          <a:bodyPr anchor="ct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549473" y="1989474"/>
            <a:ext cx="4039791"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4DBF8A56-100E-4902-968B-3CDFE43D67D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283881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mage +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55A9E-B5F9-42B8-A663-09F0B19A19E0}"/>
              </a:ext>
            </a:extLst>
          </p:cNvPr>
          <p:cNvSpPr/>
          <p:nvPr userDrawn="1"/>
        </p:nvSpPr>
        <p:spPr>
          <a:xfrm>
            <a:off x="0" y="0"/>
            <a:ext cx="32194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1"/>
          </a:p>
        </p:txBody>
      </p:sp>
      <p:sp>
        <p:nvSpPr>
          <p:cNvPr id="18" name="Picture Placeholder 17">
            <a:extLst>
              <a:ext uri="{FF2B5EF4-FFF2-40B4-BE49-F238E27FC236}">
                <a16:creationId xmlns:a16="http://schemas.microsoft.com/office/drawing/2014/main" id="{E3DC93F4-A945-42B6-9692-126B44277DAE}"/>
              </a:ext>
            </a:extLst>
          </p:cNvPr>
          <p:cNvSpPr>
            <a:spLocks noGrp="1"/>
          </p:cNvSpPr>
          <p:nvPr>
            <p:ph type="pic" sz="quarter" idx="13" hasCustomPrompt="1"/>
          </p:nvPr>
        </p:nvSpPr>
        <p:spPr>
          <a:xfrm>
            <a:off x="0" y="0"/>
            <a:ext cx="3219450" cy="6857999"/>
          </a:xfrm>
          <a:custGeom>
            <a:avLst/>
            <a:gdLst>
              <a:gd name="connsiteX0" fmla="*/ 0 w 5283200"/>
              <a:gd name="connsiteY0" fmla="*/ 0 h 9143998"/>
              <a:gd name="connsiteX1" fmla="*/ 3454400 w 5283200"/>
              <a:gd name="connsiteY1" fmla="*/ 0 h 9143998"/>
              <a:gd name="connsiteX2" fmla="*/ 3454400 w 5283200"/>
              <a:gd name="connsiteY2" fmla="*/ 914400 h 9143998"/>
              <a:gd name="connsiteX3" fmla="*/ 4368800 w 5283200"/>
              <a:gd name="connsiteY3" fmla="*/ 914400 h 9143998"/>
              <a:gd name="connsiteX4" fmla="*/ 4368800 w 5283200"/>
              <a:gd name="connsiteY4" fmla="*/ 1828800 h 9143998"/>
              <a:gd name="connsiteX5" fmla="*/ 5283200 w 5283200"/>
              <a:gd name="connsiteY5" fmla="*/ 1828800 h 9143998"/>
              <a:gd name="connsiteX6" fmla="*/ 5283200 w 5283200"/>
              <a:gd name="connsiteY6" fmla="*/ 9143998 h 9143998"/>
              <a:gd name="connsiteX7" fmla="*/ 0 w 5283200"/>
              <a:gd name="connsiteY7" fmla="*/ 9143998 h 9143998"/>
              <a:gd name="connsiteX8" fmla="*/ 0 w 5283200"/>
              <a:gd name="connsiteY8" fmla="*/ 9143403 h 9143998"/>
              <a:gd name="connsiteX9" fmla="*/ 912533 w 5283200"/>
              <a:gd name="connsiteY9" fmla="*/ 9143403 h 9143998"/>
              <a:gd name="connsiteX10" fmla="*/ 912533 w 5283200"/>
              <a:gd name="connsiteY10" fmla="*/ 8230869 h 9143998"/>
              <a:gd name="connsiteX11" fmla="*/ 0 w 5283200"/>
              <a:gd name="connsiteY11" fmla="*/ 8230869 h 914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3200" h="9143998">
                <a:moveTo>
                  <a:pt x="0" y="0"/>
                </a:moveTo>
                <a:lnTo>
                  <a:pt x="3454400" y="0"/>
                </a:lnTo>
                <a:lnTo>
                  <a:pt x="3454400" y="914400"/>
                </a:lnTo>
                <a:lnTo>
                  <a:pt x="4368800" y="914400"/>
                </a:lnTo>
                <a:lnTo>
                  <a:pt x="4368800" y="1828800"/>
                </a:lnTo>
                <a:lnTo>
                  <a:pt x="5283200" y="1828800"/>
                </a:lnTo>
                <a:lnTo>
                  <a:pt x="5283200" y="9143998"/>
                </a:lnTo>
                <a:lnTo>
                  <a:pt x="0" y="9143998"/>
                </a:lnTo>
                <a:lnTo>
                  <a:pt x="0" y="9143403"/>
                </a:lnTo>
                <a:lnTo>
                  <a:pt x="912533" y="9143403"/>
                </a:lnTo>
                <a:lnTo>
                  <a:pt x="912533" y="8230869"/>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sz="1463"/>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F77222AF-D59D-4EB8-BA6C-7217DC916854}"/>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1363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mage + text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E4A3B4F-5311-4EE8-988B-706C2D0D2446}"/>
              </a:ext>
            </a:extLst>
          </p:cNvPr>
          <p:cNvSpPr>
            <a:spLocks noGrp="1"/>
          </p:cNvSpPr>
          <p:nvPr>
            <p:ph type="pic" sz="quarter" idx="13" hasCustomPrompt="1"/>
          </p:nvPr>
        </p:nvSpPr>
        <p:spPr>
          <a:xfrm>
            <a:off x="0" y="0"/>
            <a:ext cx="3219450" cy="6858000"/>
          </a:xfrm>
          <a:custGeom>
            <a:avLst/>
            <a:gdLst>
              <a:gd name="connsiteX0" fmla="*/ 0 w 5283200"/>
              <a:gd name="connsiteY0" fmla="*/ 0 h 9144000"/>
              <a:gd name="connsiteX1" fmla="*/ 3454400 w 5283200"/>
              <a:gd name="connsiteY1" fmla="*/ 0 h 9144000"/>
              <a:gd name="connsiteX2" fmla="*/ 5283200 w 5283200"/>
              <a:gd name="connsiteY2" fmla="*/ 0 h 9144000"/>
              <a:gd name="connsiteX3" fmla="*/ 5283200 w 5283200"/>
              <a:gd name="connsiteY3" fmla="*/ 1828800 h 9144000"/>
              <a:gd name="connsiteX4" fmla="*/ 5283200 w 5283200"/>
              <a:gd name="connsiteY4" fmla="*/ 3657599 h 9144000"/>
              <a:gd name="connsiteX5" fmla="*/ 4368800 w 5283200"/>
              <a:gd name="connsiteY5" fmla="*/ 3657599 h 9144000"/>
              <a:gd name="connsiteX6" fmla="*/ 4368800 w 5283200"/>
              <a:gd name="connsiteY6" fmla="*/ 4571999 h 9144000"/>
              <a:gd name="connsiteX7" fmla="*/ 3454400 w 5283200"/>
              <a:gd name="connsiteY7" fmla="*/ 4571999 h 9144000"/>
              <a:gd name="connsiteX8" fmla="*/ 3454400 w 5283200"/>
              <a:gd name="connsiteY8" fmla="*/ 5486399 h 9144000"/>
              <a:gd name="connsiteX9" fmla="*/ 4368800 w 5283200"/>
              <a:gd name="connsiteY9" fmla="*/ 5486399 h 9144000"/>
              <a:gd name="connsiteX10" fmla="*/ 4368800 w 5283200"/>
              <a:gd name="connsiteY10" fmla="*/ 4571999 h 9144000"/>
              <a:gd name="connsiteX11" fmla="*/ 5283200 w 5283200"/>
              <a:gd name="connsiteY11" fmla="*/ 4571999 h 9144000"/>
              <a:gd name="connsiteX12" fmla="*/ 5283200 w 5283200"/>
              <a:gd name="connsiteY12" fmla="*/ 9143998 h 9144000"/>
              <a:gd name="connsiteX13" fmla="*/ 5283200 w 5283200"/>
              <a:gd name="connsiteY13" fmla="*/ 9144000 h 9144000"/>
              <a:gd name="connsiteX14" fmla="*/ 0 w 5283200"/>
              <a:gd name="connsiteY14" fmla="*/ 9144000 h 9144000"/>
              <a:gd name="connsiteX15" fmla="*/ 0 w 5283200"/>
              <a:gd name="connsiteY15" fmla="*/ 9143998 h 9144000"/>
              <a:gd name="connsiteX16" fmla="*/ 0 w 5283200"/>
              <a:gd name="connsiteY16" fmla="*/ 9143403 h 9144000"/>
              <a:gd name="connsiteX17" fmla="*/ 0 w 5283200"/>
              <a:gd name="connsiteY17" fmla="*/ 823086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83200" h="9144000">
                <a:moveTo>
                  <a:pt x="0" y="0"/>
                </a:moveTo>
                <a:lnTo>
                  <a:pt x="3454400" y="0"/>
                </a:lnTo>
                <a:lnTo>
                  <a:pt x="5283200" y="0"/>
                </a:lnTo>
                <a:lnTo>
                  <a:pt x="5283200" y="1828800"/>
                </a:lnTo>
                <a:lnTo>
                  <a:pt x="5283200" y="3657599"/>
                </a:lnTo>
                <a:lnTo>
                  <a:pt x="4368800" y="3657599"/>
                </a:lnTo>
                <a:lnTo>
                  <a:pt x="4368800" y="4571999"/>
                </a:lnTo>
                <a:lnTo>
                  <a:pt x="3454400" y="4571999"/>
                </a:lnTo>
                <a:lnTo>
                  <a:pt x="3454400" y="5486399"/>
                </a:lnTo>
                <a:lnTo>
                  <a:pt x="4368800" y="5486399"/>
                </a:lnTo>
                <a:lnTo>
                  <a:pt x="4368800" y="4571999"/>
                </a:lnTo>
                <a:lnTo>
                  <a:pt x="5283200" y="4571999"/>
                </a:lnTo>
                <a:lnTo>
                  <a:pt x="5283200" y="9143998"/>
                </a:lnTo>
                <a:lnTo>
                  <a:pt x="5283200" y="9144000"/>
                </a:lnTo>
                <a:lnTo>
                  <a:pt x="0" y="9144000"/>
                </a:lnTo>
                <a:lnTo>
                  <a:pt x="0" y="9143998"/>
                </a:lnTo>
                <a:lnTo>
                  <a:pt x="0" y="9143403"/>
                </a:lnTo>
                <a:lnTo>
                  <a:pt x="0" y="8230869"/>
                </a:lnTo>
                <a:close/>
              </a:path>
            </a:pathLst>
          </a:custGeom>
          <a:solidFill>
            <a:schemeClr val="bg2"/>
          </a:solidFill>
          <a:ln>
            <a:noFill/>
          </a:ln>
        </p:spPr>
        <p:txBody>
          <a:bodyPr wrap="square" anchor="ctr">
            <a:noAutofit/>
          </a:bodyPr>
          <a:lstStyle>
            <a:lvl1pPr algn="ctr">
              <a:defRPr sz="975"/>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3768923" y="697701"/>
            <a:ext cx="4341614"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3768924" y="1989474"/>
            <a:ext cx="5492026" cy="1441779"/>
          </a:xfrm>
        </p:spPr>
        <p:txBody>
          <a:bodyPr wrap="square">
            <a:sp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sp>
        <p:nvSpPr>
          <p:cNvPr id="3" name="Footer Placeholder 2">
            <a:extLst>
              <a:ext uri="{FF2B5EF4-FFF2-40B4-BE49-F238E27FC236}">
                <a16:creationId xmlns:a16="http://schemas.microsoft.com/office/drawing/2014/main" id="{770B7646-0E4D-436E-80FB-4FABC82744D0}"/>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31294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C8E13DE4-5314-44E1-9E54-71B64E53C8D6}"/>
              </a:ext>
            </a:extLst>
          </p:cNvPr>
          <p:cNvSpPr/>
          <p:nvPr userDrawn="1"/>
        </p:nvSpPr>
        <p:spPr>
          <a:xfrm>
            <a:off x="3219450" y="4114800"/>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FFFFFF"/>
          </a:solidFill>
        </p:spPr>
        <p:txBody>
          <a:bodyPr wrap="square" lIns="0" tIns="0" rIns="0" bIns="0" rtlCol="0"/>
          <a:lstStyle/>
          <a:p>
            <a:endParaRPr sz="731"/>
          </a:p>
        </p:txBody>
      </p:sp>
      <p:sp>
        <p:nvSpPr>
          <p:cNvPr id="19" name="Text Placeholder 18">
            <a:extLst>
              <a:ext uri="{FF2B5EF4-FFF2-40B4-BE49-F238E27FC236}">
                <a16:creationId xmlns:a16="http://schemas.microsoft.com/office/drawing/2014/main" id="{D3720633-DD1E-4523-BB30-553B51995018}"/>
              </a:ext>
            </a:extLst>
          </p:cNvPr>
          <p:cNvSpPr>
            <a:spLocks noGrp="1"/>
          </p:cNvSpPr>
          <p:nvPr>
            <p:ph type="body" sz="quarter" idx="12" hasCustomPrompt="1"/>
          </p:nvPr>
        </p:nvSpPr>
        <p:spPr>
          <a:xfrm>
            <a:off x="4333875" y="2743200"/>
            <a:ext cx="5014913" cy="3428999"/>
          </a:xfrm>
          <a:solidFill>
            <a:schemeClr val="bg1"/>
          </a:solidFill>
        </p:spPr>
        <p:txBody>
          <a:bodyPr wrap="square" lIns="378000" tIns="396000">
            <a:noAutofit/>
          </a:bodyPr>
          <a:lstStyle>
            <a:lvl1pPr>
              <a:defRPr/>
            </a:lvl1pPr>
            <a:lvl2pPr>
              <a:defRPr/>
            </a:lvl2pPr>
            <a:lvl3pPr>
              <a:defRPr/>
            </a:lvl3pPr>
            <a:lvl4pPr>
              <a:defRPr/>
            </a:lvl4pPr>
            <a:lvl5pPr>
              <a:defRPr/>
            </a:lvl5pPr>
          </a:lstStyle>
          <a:p>
            <a:pPr lvl="0"/>
            <a:r>
              <a:rPr lang="en-US" dirty="0"/>
              <a:t>Text level 1</a:t>
            </a:r>
          </a:p>
          <a:p>
            <a:pPr lvl="1"/>
            <a:r>
              <a:rPr lang="en-US" dirty="0"/>
              <a:t>Text level 2</a:t>
            </a:r>
          </a:p>
          <a:p>
            <a:pPr lvl="2"/>
            <a:r>
              <a:rPr lang="en-US" dirty="0"/>
              <a:t>Text level 3</a:t>
            </a:r>
          </a:p>
          <a:p>
            <a:pPr lvl="3"/>
            <a:r>
              <a:rPr lang="en-US" dirty="0"/>
              <a:t>Text level 4</a:t>
            </a:r>
          </a:p>
          <a:p>
            <a:pPr lvl="4"/>
            <a:r>
              <a:rPr lang="en-US" dirty="0"/>
              <a:t>Text level 5</a:t>
            </a:r>
          </a:p>
        </p:txBody>
      </p:sp>
      <p:pic>
        <p:nvPicPr>
          <p:cNvPr id="5" name="Graphique 30">
            <a:extLst>
              <a:ext uri="{FF2B5EF4-FFF2-40B4-BE49-F238E27FC236}">
                <a16:creationId xmlns:a16="http://schemas.microsoft.com/office/drawing/2014/main" id="{E0424D29-3A81-4B93-B976-4CFAA6EE3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3" name="Footer Placeholder 2">
            <a:extLst>
              <a:ext uri="{FF2B5EF4-FFF2-40B4-BE49-F238E27FC236}">
                <a16:creationId xmlns:a16="http://schemas.microsoft.com/office/drawing/2014/main" id="{AA992156-85B6-4A34-BE33-8131FE999987}"/>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562419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2" name="object 8">
            <a:extLst>
              <a:ext uri="{FF2B5EF4-FFF2-40B4-BE49-F238E27FC236}">
                <a16:creationId xmlns:a16="http://schemas.microsoft.com/office/drawing/2014/main" id="{EF77F270-8CFB-499A-AA4C-F3D2883DA5B5}"/>
              </a:ext>
            </a:extLst>
          </p:cNvPr>
          <p:cNvSpPr/>
          <p:nvPr userDrawn="1"/>
        </p:nvSpPr>
        <p:spPr>
          <a:xfrm>
            <a:off x="990600" y="6858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AA9B"/>
          </a:solidFill>
        </p:spPr>
        <p:txBody>
          <a:bodyPr wrap="square" lIns="0" tIns="0" rIns="0" bIns="0" rtlCol="0"/>
          <a:lstStyle/>
          <a:p>
            <a:endParaRPr sz="731"/>
          </a:p>
        </p:txBody>
      </p:sp>
      <p:sp>
        <p:nvSpPr>
          <p:cNvPr id="4" name="object 10">
            <a:extLst>
              <a:ext uri="{FF2B5EF4-FFF2-40B4-BE49-F238E27FC236}">
                <a16:creationId xmlns:a16="http://schemas.microsoft.com/office/drawing/2014/main" id="{3EC24377-EFF4-42AC-8D18-062DAB804EFF}"/>
              </a:ext>
            </a:extLst>
          </p:cNvPr>
          <p:cNvSpPr/>
          <p:nvPr userDrawn="1"/>
        </p:nvSpPr>
        <p:spPr>
          <a:xfrm>
            <a:off x="6005513" y="1371599"/>
            <a:ext cx="1114425" cy="1371600"/>
          </a:xfrm>
          <a:custGeom>
            <a:avLst/>
            <a:gdLst/>
            <a:ahLst/>
            <a:cxnLst/>
            <a:rect l="l" t="t" r="r" b="b"/>
            <a:pathLst>
              <a:path w="1828800" h="1828800">
                <a:moveTo>
                  <a:pt x="1828800" y="0"/>
                </a:moveTo>
                <a:lnTo>
                  <a:pt x="0" y="0"/>
                </a:lnTo>
                <a:lnTo>
                  <a:pt x="0" y="914400"/>
                </a:lnTo>
                <a:lnTo>
                  <a:pt x="914400" y="914400"/>
                </a:lnTo>
                <a:lnTo>
                  <a:pt x="914400" y="1828800"/>
                </a:lnTo>
                <a:lnTo>
                  <a:pt x="1828800" y="1828800"/>
                </a:lnTo>
                <a:lnTo>
                  <a:pt x="1828800" y="914400"/>
                </a:lnTo>
                <a:lnTo>
                  <a:pt x="1828800" y="0"/>
                </a:lnTo>
                <a:close/>
              </a:path>
            </a:pathLst>
          </a:custGeom>
          <a:solidFill>
            <a:srgbClr val="00AA9B"/>
          </a:solidFill>
        </p:spPr>
        <p:txBody>
          <a:bodyPr wrap="square" lIns="0" tIns="0" rIns="0" bIns="0" rtlCol="0"/>
          <a:lstStyle/>
          <a:p>
            <a:endParaRPr sz="731"/>
          </a:p>
        </p:txBody>
      </p:sp>
      <p:sp>
        <p:nvSpPr>
          <p:cNvPr id="5" name="object 11">
            <a:extLst>
              <a:ext uri="{FF2B5EF4-FFF2-40B4-BE49-F238E27FC236}">
                <a16:creationId xmlns:a16="http://schemas.microsoft.com/office/drawing/2014/main" id="{33BA6225-A317-475E-A047-60CD68659F89}"/>
              </a:ext>
            </a:extLst>
          </p:cNvPr>
          <p:cNvSpPr/>
          <p:nvPr userDrawn="1"/>
        </p:nvSpPr>
        <p:spPr>
          <a:xfrm>
            <a:off x="3219450" y="5486400"/>
            <a:ext cx="1671638" cy="1371600"/>
          </a:xfrm>
          <a:custGeom>
            <a:avLst/>
            <a:gdLst/>
            <a:ahLst/>
            <a:cxnLst/>
            <a:rect l="l" t="t" r="r" b="b"/>
            <a:pathLst>
              <a:path w="2743200" h="1828800">
                <a:moveTo>
                  <a:pt x="1828800" y="914400"/>
                </a:moveTo>
                <a:lnTo>
                  <a:pt x="0" y="914400"/>
                </a:lnTo>
                <a:lnTo>
                  <a:pt x="0" y="1828800"/>
                </a:lnTo>
                <a:lnTo>
                  <a:pt x="1828800" y="1828800"/>
                </a:lnTo>
                <a:lnTo>
                  <a:pt x="1828800" y="914400"/>
                </a:lnTo>
                <a:close/>
              </a:path>
              <a:path w="2743200" h="1828800">
                <a:moveTo>
                  <a:pt x="2743200" y="0"/>
                </a:moveTo>
                <a:lnTo>
                  <a:pt x="1828800" y="0"/>
                </a:lnTo>
                <a:lnTo>
                  <a:pt x="1828800" y="914400"/>
                </a:lnTo>
                <a:lnTo>
                  <a:pt x="2743200" y="914400"/>
                </a:lnTo>
                <a:lnTo>
                  <a:pt x="2743200" y="0"/>
                </a:lnTo>
                <a:close/>
              </a:path>
            </a:pathLst>
          </a:custGeom>
          <a:solidFill>
            <a:srgbClr val="00AA9B"/>
          </a:solidFill>
        </p:spPr>
        <p:txBody>
          <a:bodyPr wrap="square" lIns="0" tIns="0" rIns="0" bIns="0" rtlCol="0"/>
          <a:lstStyle/>
          <a:p>
            <a:endParaRPr sz="731"/>
          </a:p>
        </p:txBody>
      </p:sp>
      <p:sp>
        <p:nvSpPr>
          <p:cNvPr id="91" name="Text Placeholder 31">
            <a:extLst>
              <a:ext uri="{FF2B5EF4-FFF2-40B4-BE49-F238E27FC236}">
                <a16:creationId xmlns:a16="http://schemas.microsoft.com/office/drawing/2014/main" id="{75989EAC-FFE2-4FF1-A7A7-8C9AEDCF4967}"/>
              </a:ext>
            </a:extLst>
          </p:cNvPr>
          <p:cNvSpPr>
            <a:spLocks noGrp="1"/>
          </p:cNvSpPr>
          <p:nvPr>
            <p:ph type="body" sz="quarter" idx="11" hasCustomPrompt="1"/>
          </p:nvPr>
        </p:nvSpPr>
        <p:spPr>
          <a:xfrm>
            <a:off x="1547812" y="1371600"/>
            <a:ext cx="557213" cy="685794"/>
          </a:xfrm>
          <a:solidFill>
            <a:schemeClr val="accent1"/>
          </a:solidFill>
        </p:spPr>
        <p:txBody>
          <a:bodyPr tIns="216000" anchor="t">
            <a:normAutofit/>
          </a:bodyPr>
          <a:lstStyle>
            <a:lvl1pPr marL="0" algn="ctr">
              <a:spcBef>
                <a:spcPts val="1036"/>
              </a:spcBef>
              <a:defRPr sz="2438" b="1" spc="-98" baseline="0">
                <a:solidFill>
                  <a:schemeClr val="bg1"/>
                </a:solidFill>
                <a:latin typeface="+mj-lt"/>
              </a:defRPr>
            </a:lvl1pPr>
            <a:lvl2pPr algn="ctr">
              <a:defRPr>
                <a:latin typeface="+mj-lt"/>
              </a:defRPr>
            </a:lvl2pPr>
            <a:lvl3pPr algn="ctr">
              <a:defRPr>
                <a:latin typeface="+mj-lt"/>
              </a:defRPr>
            </a:lvl3pPr>
            <a:lvl4pPr algn="ctr">
              <a:defRPr>
                <a:latin typeface="+mj-lt"/>
              </a:defRPr>
            </a:lvl4pPr>
            <a:lvl5pPr algn="ctr">
              <a:defRPr>
                <a:latin typeface="+mj-lt"/>
              </a:defRPr>
            </a:lvl5pPr>
          </a:lstStyle>
          <a:p>
            <a:pPr lvl="0"/>
            <a:r>
              <a:rPr lang="fr-FR" dirty="0"/>
              <a:t>00</a:t>
            </a:r>
            <a:endParaRPr lang="en-US" dirty="0"/>
          </a:p>
        </p:txBody>
      </p:sp>
      <p:sp>
        <p:nvSpPr>
          <p:cNvPr id="94" name="Holder 2">
            <a:extLst>
              <a:ext uri="{FF2B5EF4-FFF2-40B4-BE49-F238E27FC236}">
                <a16:creationId xmlns:a16="http://schemas.microsoft.com/office/drawing/2014/main" id="{64CEAEAC-18E4-4C17-AC4D-0753A4EA64F6}"/>
              </a:ext>
            </a:extLst>
          </p:cNvPr>
          <p:cNvSpPr>
            <a:spLocks noGrp="1"/>
          </p:cNvSpPr>
          <p:nvPr>
            <p:ph type="ctrTitle" hasCustomPrompt="1"/>
          </p:nvPr>
        </p:nvSpPr>
        <p:spPr>
          <a:xfrm>
            <a:off x="2105025" y="2057394"/>
            <a:ext cx="4457700" cy="2743200"/>
          </a:xfrm>
          <a:prstGeom prst="rect">
            <a:avLst/>
          </a:prstGeom>
          <a:noFill/>
        </p:spPr>
        <p:txBody>
          <a:bodyPr wrap="square" lIns="0" tIns="410400" rIns="0" bIns="0">
            <a:noAutofit/>
          </a:bodyPr>
          <a:lstStyle>
            <a:lvl1pPr marL="232547" algn="l">
              <a:spcBef>
                <a:spcPts val="1965"/>
              </a:spcBef>
              <a:defRPr sz="2742">
                <a:solidFill>
                  <a:schemeClr val="tx2"/>
                </a:solidFill>
              </a:defRPr>
            </a:lvl1pPr>
          </a:lstStyle>
          <a:p>
            <a:r>
              <a:rPr lang="en-US" noProof="0" dirty="0"/>
              <a:t>Heading</a:t>
            </a:r>
          </a:p>
        </p:txBody>
      </p:sp>
      <p:sp>
        <p:nvSpPr>
          <p:cNvPr id="18" name="Picture Placeholder 5">
            <a:extLst>
              <a:ext uri="{FF2B5EF4-FFF2-40B4-BE49-F238E27FC236}">
                <a16:creationId xmlns:a16="http://schemas.microsoft.com/office/drawing/2014/main" id="{FC103ADA-D47B-4E9B-AEDE-C787C53F5E3D}"/>
              </a:ext>
            </a:extLst>
          </p:cNvPr>
          <p:cNvSpPr>
            <a:spLocks noGrp="1"/>
          </p:cNvSpPr>
          <p:nvPr>
            <p:ph type="pic" sz="quarter" idx="13" hasCustomPrompt="1"/>
          </p:nvPr>
        </p:nvSpPr>
        <p:spPr>
          <a:xfrm>
            <a:off x="2337197" y="3895801"/>
            <a:ext cx="1143446" cy="488156"/>
          </a:xfrm>
          <a:noFill/>
          <a:ln>
            <a:noFill/>
          </a:ln>
        </p:spPr>
        <p:txBody>
          <a:bodyPr anchor="ctr"/>
          <a:lstStyle>
            <a:lvl1pPr algn="ctr">
              <a:defRPr sz="792"/>
            </a:lvl1pPr>
          </a:lstStyle>
          <a:p>
            <a:r>
              <a:rPr lang="fr-FR" dirty="0"/>
              <a:t>Insert logo</a:t>
            </a:r>
            <a:endParaRPr lang="en-US" dirty="0"/>
          </a:p>
        </p:txBody>
      </p:sp>
      <p:sp>
        <p:nvSpPr>
          <p:cNvPr id="19" name="Picture Placeholder 5">
            <a:extLst>
              <a:ext uri="{FF2B5EF4-FFF2-40B4-BE49-F238E27FC236}">
                <a16:creationId xmlns:a16="http://schemas.microsoft.com/office/drawing/2014/main" id="{8EF4B44C-FC5F-4865-A2CA-6AD146697A66}"/>
              </a:ext>
            </a:extLst>
          </p:cNvPr>
          <p:cNvSpPr>
            <a:spLocks noGrp="1"/>
          </p:cNvSpPr>
          <p:nvPr>
            <p:ph type="pic" sz="quarter" idx="14" hasCustomPrompt="1"/>
          </p:nvPr>
        </p:nvSpPr>
        <p:spPr>
          <a:xfrm>
            <a:off x="5187416" y="3895801"/>
            <a:ext cx="1143446" cy="488156"/>
          </a:xfrm>
          <a:noFill/>
          <a:ln>
            <a:noFill/>
          </a:ln>
        </p:spPr>
        <p:txBody>
          <a:bodyPr anchor="ctr"/>
          <a:lstStyle>
            <a:lvl1pPr algn="ctr">
              <a:defRPr sz="792"/>
            </a:lvl1pPr>
          </a:lstStyle>
          <a:p>
            <a:r>
              <a:rPr lang="fr-FR" dirty="0"/>
              <a:t>Insert logo</a:t>
            </a:r>
            <a:endParaRPr lang="en-US" dirty="0"/>
          </a:p>
        </p:txBody>
      </p:sp>
      <p:sp>
        <p:nvSpPr>
          <p:cNvPr id="20" name="Picture Placeholder 5">
            <a:extLst>
              <a:ext uri="{FF2B5EF4-FFF2-40B4-BE49-F238E27FC236}">
                <a16:creationId xmlns:a16="http://schemas.microsoft.com/office/drawing/2014/main" id="{132F59FA-5C54-4BEE-A151-61D1A5F55044}"/>
              </a:ext>
            </a:extLst>
          </p:cNvPr>
          <p:cNvSpPr>
            <a:spLocks noGrp="1"/>
          </p:cNvSpPr>
          <p:nvPr>
            <p:ph type="pic" sz="quarter" idx="15" hasCustomPrompt="1"/>
          </p:nvPr>
        </p:nvSpPr>
        <p:spPr>
          <a:xfrm>
            <a:off x="3647991" y="3802008"/>
            <a:ext cx="594604" cy="675798"/>
          </a:xfrm>
          <a:noFill/>
          <a:ln>
            <a:noFill/>
          </a:ln>
        </p:spPr>
        <p:txBody>
          <a:bodyPr anchor="ctr"/>
          <a:lstStyle>
            <a:lvl1pPr algn="ctr">
              <a:defRPr sz="792"/>
            </a:lvl1pPr>
          </a:lstStyle>
          <a:p>
            <a:r>
              <a:rPr lang="fr-FR" dirty="0"/>
              <a:t>Insert logo</a:t>
            </a:r>
            <a:endParaRPr lang="en-US" dirty="0"/>
          </a:p>
        </p:txBody>
      </p:sp>
      <p:sp>
        <p:nvSpPr>
          <p:cNvPr id="22" name="Picture Placeholder 5">
            <a:extLst>
              <a:ext uri="{FF2B5EF4-FFF2-40B4-BE49-F238E27FC236}">
                <a16:creationId xmlns:a16="http://schemas.microsoft.com/office/drawing/2014/main" id="{AF6ED36D-FDAC-4123-A48A-812DD31A9EE3}"/>
              </a:ext>
            </a:extLst>
          </p:cNvPr>
          <p:cNvSpPr>
            <a:spLocks noGrp="1"/>
          </p:cNvSpPr>
          <p:nvPr>
            <p:ph type="pic" sz="quarter" idx="16" hasCustomPrompt="1"/>
          </p:nvPr>
        </p:nvSpPr>
        <p:spPr>
          <a:xfrm>
            <a:off x="4410086" y="3764498"/>
            <a:ext cx="609863" cy="750600"/>
          </a:xfrm>
          <a:prstGeom prst="ellipse">
            <a:avLst/>
          </a:prstGeom>
          <a:noFill/>
          <a:ln>
            <a:noFill/>
          </a:ln>
        </p:spPr>
        <p:txBody>
          <a:bodyPr anchor="ctr"/>
          <a:lstStyle>
            <a:lvl1pPr algn="ctr">
              <a:defRPr sz="792"/>
            </a:lvl1pPr>
          </a:lstStyle>
          <a:p>
            <a:r>
              <a:rPr lang="fr-FR" dirty="0"/>
              <a:t>Insert logo</a:t>
            </a:r>
            <a:endParaRPr lang="en-US" dirty="0"/>
          </a:p>
        </p:txBody>
      </p:sp>
      <p:sp>
        <p:nvSpPr>
          <p:cNvPr id="6" name="Footer Placeholder 5">
            <a:extLst>
              <a:ext uri="{FF2B5EF4-FFF2-40B4-BE49-F238E27FC236}">
                <a16:creationId xmlns:a16="http://schemas.microsoft.com/office/drawing/2014/main" id="{04BD0662-49C5-48D6-8BC7-54C5A2356836}"/>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432970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client">
    <p:spTree>
      <p:nvGrpSpPr>
        <p:cNvPr id="1" name=""/>
        <p:cNvGrpSpPr/>
        <p:nvPr/>
      </p:nvGrpSpPr>
      <p:grpSpPr>
        <a:xfrm>
          <a:off x="0" y="0"/>
          <a:ext cx="0" cy="0"/>
          <a:chOff x="0" y="0"/>
          <a:chExt cx="0" cy="0"/>
        </a:xfrm>
      </p:grpSpPr>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5" name="object 2">
            <a:extLst>
              <a:ext uri="{FF2B5EF4-FFF2-40B4-BE49-F238E27FC236}">
                <a16:creationId xmlns:a16="http://schemas.microsoft.com/office/drawing/2014/main" id="{31C329BC-FFDC-4CD3-ABE4-D824343B7B3C}"/>
              </a:ext>
            </a:extLst>
          </p:cNvPr>
          <p:cNvSpPr/>
          <p:nvPr userDrawn="1"/>
        </p:nvSpPr>
        <p:spPr>
          <a:xfrm>
            <a:off x="8408712" y="739971"/>
            <a:ext cx="765780" cy="69056"/>
          </a:xfrm>
          <a:custGeom>
            <a:avLst/>
            <a:gdLst/>
            <a:ahLst/>
            <a:cxnLst/>
            <a:rect l="l" t="t" r="r" b="b"/>
            <a:pathLst>
              <a:path w="1256665" h="92075">
                <a:moveTo>
                  <a:pt x="1158062" y="19088"/>
                </a:moveTo>
                <a:lnTo>
                  <a:pt x="1141564" y="19088"/>
                </a:lnTo>
                <a:lnTo>
                  <a:pt x="1164450" y="69951"/>
                </a:lnTo>
                <a:lnTo>
                  <a:pt x="1184147" y="69951"/>
                </a:lnTo>
                <a:lnTo>
                  <a:pt x="1189028" y="58381"/>
                </a:lnTo>
                <a:lnTo>
                  <a:pt x="1174737" y="58381"/>
                </a:lnTo>
                <a:lnTo>
                  <a:pt x="1158062" y="19088"/>
                </a:lnTo>
                <a:close/>
              </a:path>
              <a:path w="1256665" h="92075">
                <a:moveTo>
                  <a:pt x="1214012" y="34544"/>
                </a:moveTo>
                <a:lnTo>
                  <a:pt x="1199083" y="34544"/>
                </a:lnTo>
                <a:lnTo>
                  <a:pt x="1214005" y="69951"/>
                </a:lnTo>
                <a:lnTo>
                  <a:pt x="1233703" y="69951"/>
                </a:lnTo>
                <a:lnTo>
                  <a:pt x="1238949" y="58293"/>
                </a:lnTo>
                <a:lnTo>
                  <a:pt x="1223429" y="58293"/>
                </a:lnTo>
                <a:lnTo>
                  <a:pt x="1214012" y="34544"/>
                </a:lnTo>
                <a:close/>
              </a:path>
              <a:path w="1256665" h="92075">
                <a:moveTo>
                  <a:pt x="1207884" y="19088"/>
                </a:moveTo>
                <a:lnTo>
                  <a:pt x="1190269" y="19088"/>
                </a:lnTo>
                <a:lnTo>
                  <a:pt x="1174737" y="58381"/>
                </a:lnTo>
                <a:lnTo>
                  <a:pt x="1189028" y="58381"/>
                </a:lnTo>
                <a:lnTo>
                  <a:pt x="1199083" y="34544"/>
                </a:lnTo>
                <a:lnTo>
                  <a:pt x="1214012" y="34544"/>
                </a:lnTo>
                <a:lnTo>
                  <a:pt x="1207884" y="19088"/>
                </a:lnTo>
                <a:close/>
              </a:path>
              <a:path w="1256665" h="92075">
                <a:moveTo>
                  <a:pt x="1256588" y="19088"/>
                </a:moveTo>
                <a:lnTo>
                  <a:pt x="1240091" y="19088"/>
                </a:lnTo>
                <a:lnTo>
                  <a:pt x="1223429" y="58293"/>
                </a:lnTo>
                <a:lnTo>
                  <a:pt x="1238949" y="58293"/>
                </a:lnTo>
                <a:lnTo>
                  <a:pt x="1256588" y="19088"/>
                </a:lnTo>
                <a:close/>
              </a:path>
              <a:path w="1256665" h="92075">
                <a:moveTo>
                  <a:pt x="1104366" y="18224"/>
                </a:moveTo>
                <a:lnTo>
                  <a:pt x="1089978" y="19704"/>
                </a:lnTo>
                <a:lnTo>
                  <a:pt x="1078855" y="24364"/>
                </a:lnTo>
                <a:lnTo>
                  <a:pt x="1071680" y="32540"/>
                </a:lnTo>
                <a:lnTo>
                  <a:pt x="1069136" y="44564"/>
                </a:lnTo>
                <a:lnTo>
                  <a:pt x="1071680" y="56531"/>
                </a:lnTo>
                <a:lnTo>
                  <a:pt x="1078855" y="64681"/>
                </a:lnTo>
                <a:lnTo>
                  <a:pt x="1089978" y="69335"/>
                </a:lnTo>
                <a:lnTo>
                  <a:pt x="1104366" y="70815"/>
                </a:lnTo>
                <a:lnTo>
                  <a:pt x="1118724" y="69335"/>
                </a:lnTo>
                <a:lnTo>
                  <a:pt x="1129855" y="64681"/>
                </a:lnTo>
                <a:lnTo>
                  <a:pt x="1135351" y="58458"/>
                </a:lnTo>
                <a:lnTo>
                  <a:pt x="1090637" y="58458"/>
                </a:lnTo>
                <a:lnTo>
                  <a:pt x="1083906" y="55092"/>
                </a:lnTo>
                <a:lnTo>
                  <a:pt x="1083906" y="33934"/>
                </a:lnTo>
                <a:lnTo>
                  <a:pt x="1090637" y="30568"/>
                </a:lnTo>
                <a:lnTo>
                  <a:pt x="1135317" y="30568"/>
                </a:lnTo>
                <a:lnTo>
                  <a:pt x="1129855" y="24364"/>
                </a:lnTo>
                <a:lnTo>
                  <a:pt x="1118724" y="19704"/>
                </a:lnTo>
                <a:lnTo>
                  <a:pt x="1104366" y="18224"/>
                </a:lnTo>
                <a:close/>
              </a:path>
              <a:path w="1256665" h="92075">
                <a:moveTo>
                  <a:pt x="1135317" y="30568"/>
                </a:moveTo>
                <a:lnTo>
                  <a:pt x="1118019" y="30568"/>
                </a:lnTo>
                <a:lnTo>
                  <a:pt x="1124750" y="33934"/>
                </a:lnTo>
                <a:lnTo>
                  <a:pt x="1124750" y="55092"/>
                </a:lnTo>
                <a:lnTo>
                  <a:pt x="1118019" y="58458"/>
                </a:lnTo>
                <a:lnTo>
                  <a:pt x="1135351" y="58458"/>
                </a:lnTo>
                <a:lnTo>
                  <a:pt x="1137052" y="56531"/>
                </a:lnTo>
                <a:lnTo>
                  <a:pt x="1139609" y="44564"/>
                </a:lnTo>
                <a:lnTo>
                  <a:pt x="1137052" y="32540"/>
                </a:lnTo>
                <a:lnTo>
                  <a:pt x="1135317" y="30568"/>
                </a:lnTo>
                <a:close/>
              </a:path>
              <a:path w="1256665" h="92075">
                <a:moveTo>
                  <a:pt x="1058354" y="863"/>
                </a:moveTo>
                <a:lnTo>
                  <a:pt x="1043584" y="863"/>
                </a:lnTo>
                <a:lnTo>
                  <a:pt x="1043584" y="69951"/>
                </a:lnTo>
                <a:lnTo>
                  <a:pt x="1058354" y="69951"/>
                </a:lnTo>
                <a:lnTo>
                  <a:pt x="1058354" y="863"/>
                </a:lnTo>
                <a:close/>
              </a:path>
              <a:path w="1256665" h="92075">
                <a:moveTo>
                  <a:pt x="1011313" y="31432"/>
                </a:moveTo>
                <a:lnTo>
                  <a:pt x="996467" y="31432"/>
                </a:lnTo>
                <a:lnTo>
                  <a:pt x="996467" y="69951"/>
                </a:lnTo>
                <a:lnTo>
                  <a:pt x="1011313" y="69951"/>
                </a:lnTo>
                <a:lnTo>
                  <a:pt x="1011313" y="31432"/>
                </a:lnTo>
                <a:close/>
              </a:path>
              <a:path w="1256665" h="92075">
                <a:moveTo>
                  <a:pt x="1032814" y="19088"/>
                </a:moveTo>
                <a:lnTo>
                  <a:pt x="983081" y="19088"/>
                </a:lnTo>
                <a:lnTo>
                  <a:pt x="983081" y="31432"/>
                </a:lnTo>
                <a:lnTo>
                  <a:pt x="1032814" y="31432"/>
                </a:lnTo>
                <a:lnTo>
                  <a:pt x="1032814" y="19088"/>
                </a:lnTo>
                <a:close/>
              </a:path>
              <a:path w="1256665" h="92075">
                <a:moveTo>
                  <a:pt x="1025296" y="0"/>
                </a:moveTo>
                <a:lnTo>
                  <a:pt x="1017523" y="0"/>
                </a:lnTo>
                <a:lnTo>
                  <a:pt x="1007970" y="931"/>
                </a:lnTo>
                <a:lnTo>
                  <a:pt x="1001428" y="3759"/>
                </a:lnTo>
                <a:lnTo>
                  <a:pt x="997669" y="8529"/>
                </a:lnTo>
                <a:lnTo>
                  <a:pt x="996467" y="15290"/>
                </a:lnTo>
                <a:lnTo>
                  <a:pt x="996467" y="19088"/>
                </a:lnTo>
                <a:lnTo>
                  <a:pt x="1011313" y="19088"/>
                </a:lnTo>
                <a:lnTo>
                  <a:pt x="1011567" y="12700"/>
                </a:lnTo>
                <a:lnTo>
                  <a:pt x="1013726" y="10883"/>
                </a:lnTo>
                <a:lnTo>
                  <a:pt x="1032814" y="10883"/>
                </a:lnTo>
                <a:lnTo>
                  <a:pt x="1032814" y="863"/>
                </a:lnTo>
                <a:lnTo>
                  <a:pt x="1025296" y="0"/>
                </a:lnTo>
                <a:close/>
              </a:path>
              <a:path w="1256665" h="92075">
                <a:moveTo>
                  <a:pt x="1032814" y="10883"/>
                </a:moveTo>
                <a:lnTo>
                  <a:pt x="1025994" y="10883"/>
                </a:lnTo>
                <a:lnTo>
                  <a:pt x="1029449" y="11061"/>
                </a:lnTo>
                <a:lnTo>
                  <a:pt x="1032814" y="11315"/>
                </a:lnTo>
                <a:lnTo>
                  <a:pt x="1032814" y="10883"/>
                </a:lnTo>
                <a:close/>
              </a:path>
              <a:path w="1256665" h="92075">
                <a:moveTo>
                  <a:pt x="926706" y="863"/>
                </a:moveTo>
                <a:lnTo>
                  <a:pt x="911936" y="863"/>
                </a:lnTo>
                <a:lnTo>
                  <a:pt x="911936" y="69951"/>
                </a:lnTo>
                <a:lnTo>
                  <a:pt x="926706" y="69951"/>
                </a:lnTo>
                <a:lnTo>
                  <a:pt x="926706" y="863"/>
                </a:lnTo>
                <a:close/>
              </a:path>
              <a:path w="1256665" h="92075">
                <a:moveTo>
                  <a:pt x="870343" y="37401"/>
                </a:moveTo>
                <a:lnTo>
                  <a:pt x="861631" y="37401"/>
                </a:lnTo>
                <a:lnTo>
                  <a:pt x="850026" y="38252"/>
                </a:lnTo>
                <a:lnTo>
                  <a:pt x="840244" y="41117"/>
                </a:lnTo>
                <a:lnTo>
                  <a:pt x="833492" y="46461"/>
                </a:lnTo>
                <a:lnTo>
                  <a:pt x="830973" y="54749"/>
                </a:lnTo>
                <a:lnTo>
                  <a:pt x="832585" y="62103"/>
                </a:lnTo>
                <a:lnTo>
                  <a:pt x="837199" y="67087"/>
                </a:lnTo>
                <a:lnTo>
                  <a:pt x="844486" y="69919"/>
                </a:lnTo>
                <a:lnTo>
                  <a:pt x="854113" y="70815"/>
                </a:lnTo>
                <a:lnTo>
                  <a:pt x="862743" y="70313"/>
                </a:lnTo>
                <a:lnTo>
                  <a:pt x="870702" y="68880"/>
                </a:lnTo>
                <a:lnTo>
                  <a:pt x="878094" y="66620"/>
                </a:lnTo>
                <a:lnTo>
                  <a:pt x="885024" y="63639"/>
                </a:lnTo>
                <a:lnTo>
                  <a:pt x="899871" y="63639"/>
                </a:lnTo>
                <a:lnTo>
                  <a:pt x="899871" y="59931"/>
                </a:lnTo>
                <a:lnTo>
                  <a:pt x="850658" y="59931"/>
                </a:lnTo>
                <a:lnTo>
                  <a:pt x="845731" y="59499"/>
                </a:lnTo>
                <a:lnTo>
                  <a:pt x="845731" y="48971"/>
                </a:lnTo>
                <a:lnTo>
                  <a:pt x="852385" y="47066"/>
                </a:lnTo>
                <a:lnTo>
                  <a:pt x="899871" y="47066"/>
                </a:lnTo>
                <a:lnTo>
                  <a:pt x="899871" y="44297"/>
                </a:lnTo>
                <a:lnTo>
                  <a:pt x="899248" y="41021"/>
                </a:lnTo>
                <a:lnTo>
                  <a:pt x="885024" y="41021"/>
                </a:lnTo>
                <a:lnTo>
                  <a:pt x="878382" y="38773"/>
                </a:lnTo>
                <a:lnTo>
                  <a:pt x="870343" y="37401"/>
                </a:lnTo>
                <a:close/>
              </a:path>
              <a:path w="1256665" h="92075">
                <a:moveTo>
                  <a:pt x="899871" y="63639"/>
                </a:moveTo>
                <a:lnTo>
                  <a:pt x="885024" y="63639"/>
                </a:lnTo>
                <a:lnTo>
                  <a:pt x="885024" y="69951"/>
                </a:lnTo>
                <a:lnTo>
                  <a:pt x="899871" y="69951"/>
                </a:lnTo>
                <a:lnTo>
                  <a:pt x="899871" y="63639"/>
                </a:lnTo>
                <a:close/>
              </a:path>
              <a:path w="1256665" h="92075">
                <a:moveTo>
                  <a:pt x="899871" y="47066"/>
                </a:moveTo>
                <a:lnTo>
                  <a:pt x="872858" y="47066"/>
                </a:lnTo>
                <a:lnTo>
                  <a:pt x="879843" y="48526"/>
                </a:lnTo>
                <a:lnTo>
                  <a:pt x="885024" y="50177"/>
                </a:lnTo>
                <a:lnTo>
                  <a:pt x="885024" y="54152"/>
                </a:lnTo>
                <a:lnTo>
                  <a:pt x="878782" y="56432"/>
                </a:lnTo>
                <a:lnTo>
                  <a:pt x="871850" y="58266"/>
                </a:lnTo>
                <a:lnTo>
                  <a:pt x="864834" y="59487"/>
                </a:lnTo>
                <a:lnTo>
                  <a:pt x="858342" y="59931"/>
                </a:lnTo>
                <a:lnTo>
                  <a:pt x="899871" y="59931"/>
                </a:lnTo>
                <a:lnTo>
                  <a:pt x="899871" y="47066"/>
                </a:lnTo>
                <a:close/>
              </a:path>
              <a:path w="1256665" h="92075">
                <a:moveTo>
                  <a:pt x="896313" y="30568"/>
                </a:moveTo>
                <a:lnTo>
                  <a:pt x="872591" y="30568"/>
                </a:lnTo>
                <a:lnTo>
                  <a:pt x="885024" y="31356"/>
                </a:lnTo>
                <a:lnTo>
                  <a:pt x="885024" y="41021"/>
                </a:lnTo>
                <a:lnTo>
                  <a:pt x="899248" y="41021"/>
                </a:lnTo>
                <a:lnTo>
                  <a:pt x="897554" y="32101"/>
                </a:lnTo>
                <a:lnTo>
                  <a:pt x="896313" y="30568"/>
                </a:lnTo>
                <a:close/>
              </a:path>
              <a:path w="1256665" h="92075">
                <a:moveTo>
                  <a:pt x="866381" y="18224"/>
                </a:moveTo>
                <a:lnTo>
                  <a:pt x="858482" y="18572"/>
                </a:lnTo>
                <a:lnTo>
                  <a:pt x="850692" y="19592"/>
                </a:lnTo>
                <a:lnTo>
                  <a:pt x="842951" y="21246"/>
                </a:lnTo>
                <a:lnTo>
                  <a:pt x="835202" y="23495"/>
                </a:lnTo>
                <a:lnTo>
                  <a:pt x="840473" y="34277"/>
                </a:lnTo>
                <a:lnTo>
                  <a:pt x="847882" y="32390"/>
                </a:lnTo>
                <a:lnTo>
                  <a:pt x="854502" y="31261"/>
                </a:lnTo>
                <a:lnTo>
                  <a:pt x="860409" y="30712"/>
                </a:lnTo>
                <a:lnTo>
                  <a:pt x="865682" y="30568"/>
                </a:lnTo>
                <a:lnTo>
                  <a:pt x="896313" y="30568"/>
                </a:lnTo>
                <a:lnTo>
                  <a:pt x="891027" y="24041"/>
                </a:lnTo>
                <a:lnTo>
                  <a:pt x="880549" y="19590"/>
                </a:lnTo>
                <a:lnTo>
                  <a:pt x="866381" y="18224"/>
                </a:lnTo>
                <a:close/>
              </a:path>
              <a:path w="1256665" h="92075">
                <a:moveTo>
                  <a:pt x="796963" y="31432"/>
                </a:moveTo>
                <a:lnTo>
                  <a:pt x="782116" y="31432"/>
                </a:lnTo>
                <a:lnTo>
                  <a:pt x="782116" y="54673"/>
                </a:lnTo>
                <a:lnTo>
                  <a:pt x="783645" y="61926"/>
                </a:lnTo>
                <a:lnTo>
                  <a:pt x="787992" y="66949"/>
                </a:lnTo>
                <a:lnTo>
                  <a:pt x="794798" y="69870"/>
                </a:lnTo>
                <a:lnTo>
                  <a:pt x="803706" y="70815"/>
                </a:lnTo>
                <a:lnTo>
                  <a:pt x="810526" y="70815"/>
                </a:lnTo>
                <a:lnTo>
                  <a:pt x="816140" y="70383"/>
                </a:lnTo>
                <a:lnTo>
                  <a:pt x="821054" y="69507"/>
                </a:lnTo>
                <a:lnTo>
                  <a:pt x="821054" y="58458"/>
                </a:lnTo>
                <a:lnTo>
                  <a:pt x="798868" y="58458"/>
                </a:lnTo>
                <a:lnTo>
                  <a:pt x="796963" y="55956"/>
                </a:lnTo>
                <a:lnTo>
                  <a:pt x="796963" y="31432"/>
                </a:lnTo>
                <a:close/>
              </a:path>
              <a:path w="1256665" h="92075">
                <a:moveTo>
                  <a:pt x="821054" y="57607"/>
                </a:moveTo>
                <a:lnTo>
                  <a:pt x="815098" y="58458"/>
                </a:lnTo>
                <a:lnTo>
                  <a:pt x="821054" y="58458"/>
                </a:lnTo>
                <a:lnTo>
                  <a:pt x="821054" y="57607"/>
                </a:lnTo>
                <a:close/>
              </a:path>
              <a:path w="1256665" h="92075">
                <a:moveTo>
                  <a:pt x="821054" y="19088"/>
                </a:moveTo>
                <a:lnTo>
                  <a:pt x="768730" y="19088"/>
                </a:lnTo>
                <a:lnTo>
                  <a:pt x="768730" y="31432"/>
                </a:lnTo>
                <a:lnTo>
                  <a:pt x="821054" y="31432"/>
                </a:lnTo>
                <a:lnTo>
                  <a:pt x="821054" y="19088"/>
                </a:lnTo>
                <a:close/>
              </a:path>
              <a:path w="1256665" h="92075">
                <a:moveTo>
                  <a:pt x="796963" y="4318"/>
                </a:moveTo>
                <a:lnTo>
                  <a:pt x="782116" y="8547"/>
                </a:lnTo>
                <a:lnTo>
                  <a:pt x="782116" y="19088"/>
                </a:lnTo>
                <a:lnTo>
                  <a:pt x="796963" y="19088"/>
                </a:lnTo>
                <a:lnTo>
                  <a:pt x="796963" y="4318"/>
                </a:lnTo>
                <a:close/>
              </a:path>
              <a:path w="1256665" h="92075">
                <a:moveTo>
                  <a:pt x="758456" y="19088"/>
                </a:moveTo>
                <a:lnTo>
                  <a:pt x="743699" y="19088"/>
                </a:lnTo>
                <a:lnTo>
                  <a:pt x="743699" y="69951"/>
                </a:lnTo>
                <a:lnTo>
                  <a:pt x="758456" y="69951"/>
                </a:lnTo>
                <a:lnTo>
                  <a:pt x="758456" y="19088"/>
                </a:lnTo>
                <a:close/>
              </a:path>
              <a:path w="1256665" h="92075">
                <a:moveTo>
                  <a:pt x="758456" y="863"/>
                </a:moveTo>
                <a:lnTo>
                  <a:pt x="743699" y="863"/>
                </a:lnTo>
                <a:lnTo>
                  <a:pt x="743699" y="13728"/>
                </a:lnTo>
                <a:lnTo>
                  <a:pt x="758456" y="13728"/>
                </a:lnTo>
                <a:lnTo>
                  <a:pt x="758456" y="863"/>
                </a:lnTo>
                <a:close/>
              </a:path>
              <a:path w="1256665" h="92075">
                <a:moveTo>
                  <a:pt x="666610" y="75565"/>
                </a:moveTo>
                <a:lnTo>
                  <a:pt x="666610" y="87477"/>
                </a:lnTo>
                <a:lnTo>
                  <a:pt x="671585" y="88657"/>
                </a:lnTo>
                <a:lnTo>
                  <a:pt x="678845" y="89989"/>
                </a:lnTo>
                <a:lnTo>
                  <a:pt x="687950" y="91078"/>
                </a:lnTo>
                <a:lnTo>
                  <a:pt x="698461" y="91528"/>
                </a:lnTo>
                <a:lnTo>
                  <a:pt x="711770" y="89802"/>
                </a:lnTo>
                <a:lnTo>
                  <a:pt x="722266" y="84448"/>
                </a:lnTo>
                <a:lnTo>
                  <a:pt x="726188" y="79184"/>
                </a:lnTo>
                <a:lnTo>
                  <a:pt x="695185" y="79184"/>
                </a:lnTo>
                <a:lnTo>
                  <a:pt x="686821" y="78776"/>
                </a:lnTo>
                <a:lnTo>
                  <a:pt x="678921" y="77793"/>
                </a:lnTo>
                <a:lnTo>
                  <a:pt x="672009" y="76602"/>
                </a:lnTo>
                <a:lnTo>
                  <a:pt x="666610" y="75565"/>
                </a:lnTo>
                <a:close/>
              </a:path>
              <a:path w="1256665" h="92075">
                <a:moveTo>
                  <a:pt x="731621" y="60274"/>
                </a:moveTo>
                <a:lnTo>
                  <a:pt x="716775" y="60274"/>
                </a:lnTo>
                <a:lnTo>
                  <a:pt x="715294" y="68731"/>
                </a:lnTo>
                <a:lnTo>
                  <a:pt x="711485" y="74620"/>
                </a:lnTo>
                <a:lnTo>
                  <a:pt x="704923" y="78063"/>
                </a:lnTo>
                <a:lnTo>
                  <a:pt x="695185" y="79184"/>
                </a:lnTo>
                <a:lnTo>
                  <a:pt x="726188" y="79184"/>
                </a:lnTo>
                <a:lnTo>
                  <a:pt x="729149" y="75209"/>
                </a:lnTo>
                <a:lnTo>
                  <a:pt x="731621" y="61823"/>
                </a:lnTo>
                <a:lnTo>
                  <a:pt x="731621" y="60274"/>
                </a:lnTo>
                <a:close/>
              </a:path>
              <a:path w="1256665" h="92075">
                <a:moveTo>
                  <a:pt x="691045" y="18224"/>
                </a:moveTo>
                <a:lnTo>
                  <a:pt x="679021" y="19691"/>
                </a:lnTo>
                <a:lnTo>
                  <a:pt x="669570" y="24268"/>
                </a:lnTo>
                <a:lnTo>
                  <a:pt x="663389" y="32213"/>
                </a:lnTo>
                <a:lnTo>
                  <a:pt x="661174" y="43789"/>
                </a:lnTo>
                <a:lnTo>
                  <a:pt x="663389" y="55352"/>
                </a:lnTo>
                <a:lnTo>
                  <a:pt x="669570" y="63295"/>
                </a:lnTo>
                <a:lnTo>
                  <a:pt x="679021" y="67872"/>
                </a:lnTo>
                <a:lnTo>
                  <a:pt x="691045" y="69342"/>
                </a:lnTo>
                <a:lnTo>
                  <a:pt x="699399" y="68727"/>
                </a:lnTo>
                <a:lnTo>
                  <a:pt x="706467" y="66946"/>
                </a:lnTo>
                <a:lnTo>
                  <a:pt x="712256" y="64096"/>
                </a:lnTo>
                <a:lnTo>
                  <a:pt x="716775" y="60274"/>
                </a:lnTo>
                <a:lnTo>
                  <a:pt x="731621" y="60274"/>
                </a:lnTo>
                <a:lnTo>
                  <a:pt x="731621" y="56997"/>
                </a:lnTo>
                <a:lnTo>
                  <a:pt x="682497" y="56997"/>
                </a:lnTo>
                <a:lnTo>
                  <a:pt x="675932" y="53111"/>
                </a:lnTo>
                <a:lnTo>
                  <a:pt x="675932" y="34467"/>
                </a:lnTo>
                <a:lnTo>
                  <a:pt x="682497" y="30568"/>
                </a:lnTo>
                <a:lnTo>
                  <a:pt x="731621" y="30568"/>
                </a:lnTo>
                <a:lnTo>
                  <a:pt x="731621" y="27292"/>
                </a:lnTo>
                <a:lnTo>
                  <a:pt x="716775" y="27292"/>
                </a:lnTo>
                <a:lnTo>
                  <a:pt x="712306" y="23475"/>
                </a:lnTo>
                <a:lnTo>
                  <a:pt x="706534" y="20624"/>
                </a:lnTo>
                <a:lnTo>
                  <a:pt x="699449" y="18841"/>
                </a:lnTo>
                <a:lnTo>
                  <a:pt x="691045" y="18224"/>
                </a:lnTo>
                <a:close/>
              </a:path>
              <a:path w="1256665" h="92075">
                <a:moveTo>
                  <a:pt x="731621" y="30568"/>
                </a:moveTo>
                <a:lnTo>
                  <a:pt x="710298" y="30568"/>
                </a:lnTo>
                <a:lnTo>
                  <a:pt x="716775" y="34467"/>
                </a:lnTo>
                <a:lnTo>
                  <a:pt x="716775" y="53111"/>
                </a:lnTo>
                <a:lnTo>
                  <a:pt x="710298" y="56997"/>
                </a:lnTo>
                <a:lnTo>
                  <a:pt x="731621" y="56997"/>
                </a:lnTo>
                <a:lnTo>
                  <a:pt x="731621" y="30568"/>
                </a:lnTo>
                <a:close/>
              </a:path>
              <a:path w="1256665" h="92075">
                <a:moveTo>
                  <a:pt x="731621" y="19088"/>
                </a:moveTo>
                <a:lnTo>
                  <a:pt x="716775" y="19088"/>
                </a:lnTo>
                <a:lnTo>
                  <a:pt x="716775" y="27292"/>
                </a:lnTo>
                <a:lnTo>
                  <a:pt x="731621" y="27292"/>
                </a:lnTo>
                <a:lnTo>
                  <a:pt x="731621" y="19088"/>
                </a:lnTo>
                <a:close/>
              </a:path>
              <a:path w="1256665" h="92075">
                <a:moveTo>
                  <a:pt x="650379" y="19088"/>
                </a:moveTo>
                <a:lnTo>
                  <a:pt x="635609" y="19088"/>
                </a:lnTo>
                <a:lnTo>
                  <a:pt x="635609" y="69951"/>
                </a:lnTo>
                <a:lnTo>
                  <a:pt x="650379" y="69951"/>
                </a:lnTo>
                <a:lnTo>
                  <a:pt x="650379" y="19088"/>
                </a:lnTo>
                <a:close/>
              </a:path>
              <a:path w="1256665" h="92075">
                <a:moveTo>
                  <a:pt x="650379" y="863"/>
                </a:moveTo>
                <a:lnTo>
                  <a:pt x="635609" y="863"/>
                </a:lnTo>
                <a:lnTo>
                  <a:pt x="635609" y="13728"/>
                </a:lnTo>
                <a:lnTo>
                  <a:pt x="650379" y="13728"/>
                </a:lnTo>
                <a:lnTo>
                  <a:pt x="650379" y="863"/>
                </a:lnTo>
                <a:close/>
              </a:path>
              <a:path w="1256665" h="92075">
                <a:moveTo>
                  <a:pt x="583387" y="18224"/>
                </a:moveTo>
                <a:lnTo>
                  <a:pt x="571773" y="19607"/>
                </a:lnTo>
                <a:lnTo>
                  <a:pt x="562121" y="24107"/>
                </a:lnTo>
                <a:lnTo>
                  <a:pt x="555526" y="32251"/>
                </a:lnTo>
                <a:lnTo>
                  <a:pt x="553084" y="44564"/>
                </a:lnTo>
                <a:lnTo>
                  <a:pt x="555526" y="56863"/>
                </a:lnTo>
                <a:lnTo>
                  <a:pt x="562121" y="64976"/>
                </a:lnTo>
                <a:lnTo>
                  <a:pt x="571773" y="69445"/>
                </a:lnTo>
                <a:lnTo>
                  <a:pt x="583387" y="70815"/>
                </a:lnTo>
                <a:lnTo>
                  <a:pt x="591206" y="70252"/>
                </a:lnTo>
                <a:lnTo>
                  <a:pt x="598125" y="68580"/>
                </a:lnTo>
                <a:lnTo>
                  <a:pt x="604025" y="65821"/>
                </a:lnTo>
                <a:lnTo>
                  <a:pt x="608787" y="62001"/>
                </a:lnTo>
                <a:lnTo>
                  <a:pt x="623544" y="62001"/>
                </a:lnTo>
                <a:lnTo>
                  <a:pt x="623544" y="58458"/>
                </a:lnTo>
                <a:lnTo>
                  <a:pt x="575106" y="58458"/>
                </a:lnTo>
                <a:lnTo>
                  <a:pt x="567943" y="54571"/>
                </a:lnTo>
                <a:lnTo>
                  <a:pt x="567943" y="34467"/>
                </a:lnTo>
                <a:lnTo>
                  <a:pt x="575106" y="30568"/>
                </a:lnTo>
                <a:lnTo>
                  <a:pt x="623544" y="30568"/>
                </a:lnTo>
                <a:lnTo>
                  <a:pt x="623544" y="27025"/>
                </a:lnTo>
                <a:lnTo>
                  <a:pt x="608787" y="27025"/>
                </a:lnTo>
                <a:lnTo>
                  <a:pt x="604025" y="23212"/>
                </a:lnTo>
                <a:lnTo>
                  <a:pt x="598125" y="20458"/>
                </a:lnTo>
                <a:lnTo>
                  <a:pt x="591206" y="18787"/>
                </a:lnTo>
                <a:lnTo>
                  <a:pt x="583387" y="18224"/>
                </a:lnTo>
                <a:close/>
              </a:path>
              <a:path w="1256665" h="92075">
                <a:moveTo>
                  <a:pt x="623544" y="62001"/>
                </a:moveTo>
                <a:lnTo>
                  <a:pt x="608787" y="62001"/>
                </a:lnTo>
                <a:lnTo>
                  <a:pt x="608787" y="69951"/>
                </a:lnTo>
                <a:lnTo>
                  <a:pt x="623544" y="69951"/>
                </a:lnTo>
                <a:lnTo>
                  <a:pt x="623544" y="62001"/>
                </a:lnTo>
                <a:close/>
              </a:path>
              <a:path w="1256665" h="92075">
                <a:moveTo>
                  <a:pt x="623544" y="30568"/>
                </a:moveTo>
                <a:lnTo>
                  <a:pt x="601522" y="30568"/>
                </a:lnTo>
                <a:lnTo>
                  <a:pt x="608787" y="34467"/>
                </a:lnTo>
                <a:lnTo>
                  <a:pt x="608787" y="54571"/>
                </a:lnTo>
                <a:lnTo>
                  <a:pt x="601522" y="58458"/>
                </a:lnTo>
                <a:lnTo>
                  <a:pt x="623544" y="58458"/>
                </a:lnTo>
                <a:lnTo>
                  <a:pt x="623544" y="30568"/>
                </a:lnTo>
                <a:close/>
              </a:path>
              <a:path w="1256665" h="92075">
                <a:moveTo>
                  <a:pt x="623544" y="863"/>
                </a:moveTo>
                <a:lnTo>
                  <a:pt x="608787" y="863"/>
                </a:lnTo>
                <a:lnTo>
                  <a:pt x="608787" y="27025"/>
                </a:lnTo>
                <a:lnTo>
                  <a:pt x="623544" y="27025"/>
                </a:lnTo>
                <a:lnTo>
                  <a:pt x="623544" y="863"/>
                </a:lnTo>
                <a:close/>
              </a:path>
              <a:path w="1256665" h="92075">
                <a:moveTo>
                  <a:pt x="462800" y="18224"/>
                </a:moveTo>
                <a:lnTo>
                  <a:pt x="448589" y="19704"/>
                </a:lnTo>
                <a:lnTo>
                  <a:pt x="437446" y="24364"/>
                </a:lnTo>
                <a:lnTo>
                  <a:pt x="430173" y="32540"/>
                </a:lnTo>
                <a:lnTo>
                  <a:pt x="427570" y="44564"/>
                </a:lnTo>
                <a:lnTo>
                  <a:pt x="430220" y="56531"/>
                </a:lnTo>
                <a:lnTo>
                  <a:pt x="437500" y="64681"/>
                </a:lnTo>
                <a:lnTo>
                  <a:pt x="448407" y="69335"/>
                </a:lnTo>
                <a:lnTo>
                  <a:pt x="461937" y="70815"/>
                </a:lnTo>
                <a:lnTo>
                  <a:pt x="474841" y="69652"/>
                </a:lnTo>
                <a:lnTo>
                  <a:pt x="485132" y="66124"/>
                </a:lnTo>
                <a:lnTo>
                  <a:pt x="492524" y="60169"/>
                </a:lnTo>
                <a:lnTo>
                  <a:pt x="493200" y="58813"/>
                </a:lnTo>
                <a:lnTo>
                  <a:pt x="452094" y="58813"/>
                </a:lnTo>
                <a:lnTo>
                  <a:pt x="444322" y="56134"/>
                </a:lnTo>
                <a:lnTo>
                  <a:pt x="442683" y="48006"/>
                </a:lnTo>
                <a:lnTo>
                  <a:pt x="497585" y="48006"/>
                </a:lnTo>
                <a:lnTo>
                  <a:pt x="495815" y="38608"/>
                </a:lnTo>
                <a:lnTo>
                  <a:pt x="443191" y="38608"/>
                </a:lnTo>
                <a:lnTo>
                  <a:pt x="445528" y="31432"/>
                </a:lnTo>
                <a:lnTo>
                  <a:pt x="452615" y="29451"/>
                </a:lnTo>
                <a:lnTo>
                  <a:pt x="491513" y="29451"/>
                </a:lnTo>
                <a:lnTo>
                  <a:pt x="487446" y="24437"/>
                </a:lnTo>
                <a:lnTo>
                  <a:pt x="476395" y="19623"/>
                </a:lnTo>
                <a:lnTo>
                  <a:pt x="462800" y="18224"/>
                </a:lnTo>
                <a:close/>
              </a:path>
              <a:path w="1256665" h="92075">
                <a:moveTo>
                  <a:pt x="496735" y="51727"/>
                </a:moveTo>
                <a:lnTo>
                  <a:pt x="482053" y="51727"/>
                </a:lnTo>
                <a:lnTo>
                  <a:pt x="478345" y="56908"/>
                </a:lnTo>
                <a:lnTo>
                  <a:pt x="472122" y="58813"/>
                </a:lnTo>
                <a:lnTo>
                  <a:pt x="493200" y="58813"/>
                </a:lnTo>
                <a:lnTo>
                  <a:pt x="496735" y="51727"/>
                </a:lnTo>
                <a:close/>
              </a:path>
              <a:path w="1256665" h="92075">
                <a:moveTo>
                  <a:pt x="491513" y="29451"/>
                </a:moveTo>
                <a:lnTo>
                  <a:pt x="472046" y="29451"/>
                </a:lnTo>
                <a:lnTo>
                  <a:pt x="479297" y="31432"/>
                </a:lnTo>
                <a:lnTo>
                  <a:pt x="481787" y="38608"/>
                </a:lnTo>
                <a:lnTo>
                  <a:pt x="495815" y="38608"/>
                </a:lnTo>
                <a:lnTo>
                  <a:pt x="494870" y="33590"/>
                </a:lnTo>
                <a:lnTo>
                  <a:pt x="491513" y="29451"/>
                </a:lnTo>
                <a:close/>
              </a:path>
              <a:path w="1256665" h="92075">
                <a:moveTo>
                  <a:pt x="368858" y="19088"/>
                </a:moveTo>
                <a:lnTo>
                  <a:pt x="352463" y="19088"/>
                </a:lnTo>
                <a:lnTo>
                  <a:pt x="378193" y="69951"/>
                </a:lnTo>
                <a:lnTo>
                  <a:pt x="399262" y="69951"/>
                </a:lnTo>
                <a:lnTo>
                  <a:pt x="404565" y="59499"/>
                </a:lnTo>
                <a:lnTo>
                  <a:pt x="388810" y="59499"/>
                </a:lnTo>
                <a:lnTo>
                  <a:pt x="368858" y="19088"/>
                </a:lnTo>
                <a:close/>
              </a:path>
              <a:path w="1256665" h="92075">
                <a:moveTo>
                  <a:pt x="425068" y="19088"/>
                </a:moveTo>
                <a:lnTo>
                  <a:pt x="408673" y="19088"/>
                </a:lnTo>
                <a:lnTo>
                  <a:pt x="388810" y="59499"/>
                </a:lnTo>
                <a:lnTo>
                  <a:pt x="404565" y="59499"/>
                </a:lnTo>
                <a:lnTo>
                  <a:pt x="425068" y="19088"/>
                </a:lnTo>
                <a:close/>
              </a:path>
              <a:path w="1256665" h="92075">
                <a:moveTo>
                  <a:pt x="343052" y="19088"/>
                </a:moveTo>
                <a:lnTo>
                  <a:pt x="328282" y="19088"/>
                </a:lnTo>
                <a:lnTo>
                  <a:pt x="328282" y="69951"/>
                </a:lnTo>
                <a:lnTo>
                  <a:pt x="343052" y="69951"/>
                </a:lnTo>
                <a:lnTo>
                  <a:pt x="343052" y="19088"/>
                </a:lnTo>
                <a:close/>
              </a:path>
              <a:path w="1256665" h="92075">
                <a:moveTo>
                  <a:pt x="343052" y="863"/>
                </a:moveTo>
                <a:lnTo>
                  <a:pt x="328282" y="863"/>
                </a:lnTo>
                <a:lnTo>
                  <a:pt x="328282" y="13728"/>
                </a:lnTo>
                <a:lnTo>
                  <a:pt x="343052" y="13728"/>
                </a:lnTo>
                <a:lnTo>
                  <a:pt x="343052" y="863"/>
                </a:lnTo>
                <a:close/>
              </a:path>
              <a:path w="1256665" h="92075">
                <a:moveTo>
                  <a:pt x="293001" y="31432"/>
                </a:moveTo>
                <a:lnTo>
                  <a:pt x="278142" y="31432"/>
                </a:lnTo>
                <a:lnTo>
                  <a:pt x="278142" y="54673"/>
                </a:lnTo>
                <a:lnTo>
                  <a:pt x="279669" y="61926"/>
                </a:lnTo>
                <a:lnTo>
                  <a:pt x="284013" y="66949"/>
                </a:lnTo>
                <a:lnTo>
                  <a:pt x="290819" y="69870"/>
                </a:lnTo>
                <a:lnTo>
                  <a:pt x="299732" y="70815"/>
                </a:lnTo>
                <a:lnTo>
                  <a:pt x="306552" y="70815"/>
                </a:lnTo>
                <a:lnTo>
                  <a:pt x="312165" y="70383"/>
                </a:lnTo>
                <a:lnTo>
                  <a:pt x="317093" y="69507"/>
                </a:lnTo>
                <a:lnTo>
                  <a:pt x="317093" y="58458"/>
                </a:lnTo>
                <a:lnTo>
                  <a:pt x="294906" y="58458"/>
                </a:lnTo>
                <a:lnTo>
                  <a:pt x="293001" y="55956"/>
                </a:lnTo>
                <a:lnTo>
                  <a:pt x="293001" y="31432"/>
                </a:lnTo>
                <a:close/>
              </a:path>
              <a:path w="1256665" h="92075">
                <a:moveTo>
                  <a:pt x="317093" y="57607"/>
                </a:moveTo>
                <a:lnTo>
                  <a:pt x="311124" y="58458"/>
                </a:lnTo>
                <a:lnTo>
                  <a:pt x="317093" y="58458"/>
                </a:lnTo>
                <a:lnTo>
                  <a:pt x="317093" y="57607"/>
                </a:lnTo>
                <a:close/>
              </a:path>
              <a:path w="1256665" h="92075">
                <a:moveTo>
                  <a:pt x="317093" y="19088"/>
                </a:moveTo>
                <a:lnTo>
                  <a:pt x="264756" y="19088"/>
                </a:lnTo>
                <a:lnTo>
                  <a:pt x="264756" y="31432"/>
                </a:lnTo>
                <a:lnTo>
                  <a:pt x="317093" y="31432"/>
                </a:lnTo>
                <a:lnTo>
                  <a:pt x="317093" y="19088"/>
                </a:lnTo>
                <a:close/>
              </a:path>
              <a:path w="1256665" h="92075">
                <a:moveTo>
                  <a:pt x="293001" y="4318"/>
                </a:moveTo>
                <a:lnTo>
                  <a:pt x="278142" y="8547"/>
                </a:lnTo>
                <a:lnTo>
                  <a:pt x="278142" y="19088"/>
                </a:lnTo>
                <a:lnTo>
                  <a:pt x="293001" y="19088"/>
                </a:lnTo>
                <a:lnTo>
                  <a:pt x="293001" y="4318"/>
                </a:lnTo>
                <a:close/>
              </a:path>
              <a:path w="1256665" h="92075">
                <a:moveTo>
                  <a:pt x="254495" y="19088"/>
                </a:moveTo>
                <a:lnTo>
                  <a:pt x="239725" y="19088"/>
                </a:lnTo>
                <a:lnTo>
                  <a:pt x="239725" y="69951"/>
                </a:lnTo>
                <a:lnTo>
                  <a:pt x="254495" y="69951"/>
                </a:lnTo>
                <a:lnTo>
                  <a:pt x="254495" y="19088"/>
                </a:lnTo>
                <a:close/>
              </a:path>
              <a:path w="1256665" h="92075">
                <a:moveTo>
                  <a:pt x="254495" y="863"/>
                </a:moveTo>
                <a:lnTo>
                  <a:pt x="239725" y="863"/>
                </a:lnTo>
                <a:lnTo>
                  <a:pt x="239725" y="13728"/>
                </a:lnTo>
                <a:lnTo>
                  <a:pt x="254495" y="13728"/>
                </a:lnTo>
                <a:lnTo>
                  <a:pt x="254495" y="863"/>
                </a:lnTo>
                <a:close/>
              </a:path>
              <a:path w="1256665" h="92075">
                <a:moveTo>
                  <a:pt x="173431" y="52070"/>
                </a:moveTo>
                <a:lnTo>
                  <a:pt x="158661" y="52070"/>
                </a:lnTo>
                <a:lnTo>
                  <a:pt x="161801" y="61846"/>
                </a:lnTo>
                <a:lnTo>
                  <a:pt x="170179" y="67529"/>
                </a:lnTo>
                <a:lnTo>
                  <a:pt x="182235" y="70168"/>
                </a:lnTo>
                <a:lnTo>
                  <a:pt x="196405" y="70815"/>
                </a:lnTo>
                <a:lnTo>
                  <a:pt x="209756" y="70198"/>
                </a:lnTo>
                <a:lnTo>
                  <a:pt x="220022" y="67767"/>
                </a:lnTo>
                <a:lnTo>
                  <a:pt x="226614" y="62649"/>
                </a:lnTo>
                <a:lnTo>
                  <a:pt x="227436" y="59588"/>
                </a:lnTo>
                <a:lnTo>
                  <a:pt x="179044" y="59588"/>
                </a:lnTo>
                <a:lnTo>
                  <a:pt x="173431" y="57518"/>
                </a:lnTo>
                <a:lnTo>
                  <a:pt x="173431" y="52070"/>
                </a:lnTo>
                <a:close/>
              </a:path>
              <a:path w="1256665" h="92075">
                <a:moveTo>
                  <a:pt x="194144" y="18224"/>
                </a:moveTo>
                <a:lnTo>
                  <a:pt x="181188" y="18835"/>
                </a:lnTo>
                <a:lnTo>
                  <a:pt x="170514" y="21142"/>
                </a:lnTo>
                <a:lnTo>
                  <a:pt x="163189" y="25950"/>
                </a:lnTo>
                <a:lnTo>
                  <a:pt x="160477" y="34023"/>
                </a:lnTo>
                <a:lnTo>
                  <a:pt x="162540" y="41404"/>
                </a:lnTo>
                <a:lnTo>
                  <a:pt x="168757" y="45778"/>
                </a:lnTo>
                <a:lnTo>
                  <a:pt x="179165" y="48098"/>
                </a:lnTo>
                <a:lnTo>
                  <a:pt x="193801" y="49314"/>
                </a:lnTo>
                <a:lnTo>
                  <a:pt x="211683" y="50431"/>
                </a:lnTo>
                <a:lnTo>
                  <a:pt x="214109" y="50685"/>
                </a:lnTo>
                <a:lnTo>
                  <a:pt x="214109" y="58547"/>
                </a:lnTo>
                <a:lnTo>
                  <a:pt x="211505" y="59588"/>
                </a:lnTo>
                <a:lnTo>
                  <a:pt x="227436" y="59588"/>
                </a:lnTo>
                <a:lnTo>
                  <a:pt x="195529" y="38430"/>
                </a:lnTo>
                <a:lnTo>
                  <a:pt x="178003" y="37134"/>
                </a:lnTo>
                <a:lnTo>
                  <a:pt x="175323" y="36614"/>
                </a:lnTo>
                <a:lnTo>
                  <a:pt x="175323" y="30492"/>
                </a:lnTo>
                <a:lnTo>
                  <a:pt x="179298" y="29451"/>
                </a:lnTo>
                <a:lnTo>
                  <a:pt x="225691" y="29451"/>
                </a:lnTo>
                <a:lnTo>
                  <a:pt x="224755" y="26245"/>
                </a:lnTo>
                <a:lnTo>
                  <a:pt x="217878" y="21229"/>
                </a:lnTo>
                <a:lnTo>
                  <a:pt x="207404" y="18835"/>
                </a:lnTo>
                <a:lnTo>
                  <a:pt x="194144" y="18224"/>
                </a:lnTo>
                <a:close/>
              </a:path>
              <a:path w="1256665" h="92075">
                <a:moveTo>
                  <a:pt x="225691" y="29451"/>
                </a:moveTo>
                <a:lnTo>
                  <a:pt x="207022" y="29451"/>
                </a:lnTo>
                <a:lnTo>
                  <a:pt x="212382" y="30492"/>
                </a:lnTo>
                <a:lnTo>
                  <a:pt x="212382" y="34721"/>
                </a:lnTo>
                <a:lnTo>
                  <a:pt x="227228" y="34721"/>
                </a:lnTo>
                <a:lnTo>
                  <a:pt x="225691" y="29451"/>
                </a:lnTo>
                <a:close/>
              </a:path>
              <a:path w="1256665" h="92075">
                <a:moveTo>
                  <a:pt x="114909" y="18224"/>
                </a:moveTo>
                <a:lnTo>
                  <a:pt x="100516" y="19704"/>
                </a:lnTo>
                <a:lnTo>
                  <a:pt x="89393" y="24364"/>
                </a:lnTo>
                <a:lnTo>
                  <a:pt x="82221" y="32540"/>
                </a:lnTo>
                <a:lnTo>
                  <a:pt x="79679" y="44564"/>
                </a:lnTo>
                <a:lnTo>
                  <a:pt x="82221" y="56531"/>
                </a:lnTo>
                <a:lnTo>
                  <a:pt x="89393" y="64681"/>
                </a:lnTo>
                <a:lnTo>
                  <a:pt x="100516" y="69335"/>
                </a:lnTo>
                <a:lnTo>
                  <a:pt x="114909" y="70815"/>
                </a:lnTo>
                <a:lnTo>
                  <a:pt x="129265" y="69335"/>
                </a:lnTo>
                <a:lnTo>
                  <a:pt x="140392" y="64681"/>
                </a:lnTo>
                <a:lnTo>
                  <a:pt x="145884" y="58458"/>
                </a:lnTo>
                <a:lnTo>
                  <a:pt x="101180" y="58458"/>
                </a:lnTo>
                <a:lnTo>
                  <a:pt x="94437" y="55092"/>
                </a:lnTo>
                <a:lnTo>
                  <a:pt x="94437" y="33934"/>
                </a:lnTo>
                <a:lnTo>
                  <a:pt x="101180" y="30568"/>
                </a:lnTo>
                <a:lnTo>
                  <a:pt x="145850" y="30568"/>
                </a:lnTo>
                <a:lnTo>
                  <a:pt x="140392" y="24364"/>
                </a:lnTo>
                <a:lnTo>
                  <a:pt x="129265" y="19704"/>
                </a:lnTo>
                <a:lnTo>
                  <a:pt x="114909" y="18224"/>
                </a:lnTo>
                <a:close/>
              </a:path>
              <a:path w="1256665" h="92075">
                <a:moveTo>
                  <a:pt x="145850" y="30568"/>
                </a:moveTo>
                <a:lnTo>
                  <a:pt x="128536" y="30568"/>
                </a:lnTo>
                <a:lnTo>
                  <a:pt x="135280" y="33934"/>
                </a:lnTo>
                <a:lnTo>
                  <a:pt x="135280" y="55092"/>
                </a:lnTo>
                <a:lnTo>
                  <a:pt x="128536" y="58458"/>
                </a:lnTo>
                <a:lnTo>
                  <a:pt x="145884" y="58458"/>
                </a:lnTo>
                <a:lnTo>
                  <a:pt x="147585" y="56531"/>
                </a:lnTo>
                <a:lnTo>
                  <a:pt x="150139" y="44564"/>
                </a:lnTo>
                <a:lnTo>
                  <a:pt x="147585" y="32540"/>
                </a:lnTo>
                <a:lnTo>
                  <a:pt x="145850" y="30568"/>
                </a:lnTo>
                <a:close/>
              </a:path>
              <a:path w="1256665" h="92075">
                <a:moveTo>
                  <a:pt x="47497" y="9512"/>
                </a:moveTo>
                <a:lnTo>
                  <a:pt x="0" y="9512"/>
                </a:lnTo>
                <a:lnTo>
                  <a:pt x="0" y="69951"/>
                </a:lnTo>
                <a:lnTo>
                  <a:pt x="15544" y="69951"/>
                </a:lnTo>
                <a:lnTo>
                  <a:pt x="15544" y="53809"/>
                </a:lnTo>
                <a:lnTo>
                  <a:pt x="47497" y="53809"/>
                </a:lnTo>
                <a:lnTo>
                  <a:pt x="56905" y="52248"/>
                </a:lnTo>
                <a:lnTo>
                  <a:pt x="64215" y="47802"/>
                </a:lnTo>
                <a:lnTo>
                  <a:pt x="68952" y="40833"/>
                </a:lnTo>
                <a:lnTo>
                  <a:pt x="15544" y="40754"/>
                </a:lnTo>
                <a:lnTo>
                  <a:pt x="15544" y="22542"/>
                </a:lnTo>
                <a:lnTo>
                  <a:pt x="68948" y="22542"/>
                </a:lnTo>
                <a:lnTo>
                  <a:pt x="64215" y="15552"/>
                </a:lnTo>
                <a:lnTo>
                  <a:pt x="56905" y="11084"/>
                </a:lnTo>
                <a:lnTo>
                  <a:pt x="47497" y="9512"/>
                </a:lnTo>
                <a:close/>
              </a:path>
              <a:path w="1256665" h="92075">
                <a:moveTo>
                  <a:pt x="68948" y="22542"/>
                </a:moveTo>
                <a:lnTo>
                  <a:pt x="55092" y="22542"/>
                </a:lnTo>
                <a:lnTo>
                  <a:pt x="55092" y="40754"/>
                </a:lnTo>
                <a:lnTo>
                  <a:pt x="68967" y="40754"/>
                </a:lnTo>
                <a:lnTo>
                  <a:pt x="70637" y="31699"/>
                </a:lnTo>
                <a:lnTo>
                  <a:pt x="68948" y="22542"/>
                </a:lnTo>
                <a:close/>
              </a:path>
            </a:pathLst>
          </a:custGeom>
          <a:solidFill>
            <a:srgbClr val="00AA9B"/>
          </a:solidFill>
        </p:spPr>
        <p:txBody>
          <a:bodyPr wrap="square" lIns="0" tIns="0" rIns="0" bIns="0" rtlCol="0"/>
          <a:lstStyle/>
          <a:p>
            <a:endParaRPr sz="731"/>
          </a:p>
        </p:txBody>
      </p:sp>
      <p:sp>
        <p:nvSpPr>
          <p:cNvPr id="6" name="object 8">
            <a:extLst>
              <a:ext uri="{FF2B5EF4-FFF2-40B4-BE49-F238E27FC236}">
                <a16:creationId xmlns:a16="http://schemas.microsoft.com/office/drawing/2014/main" id="{751A90F7-4173-4539-90AE-F4A8B177F34B}"/>
              </a:ext>
            </a:extLst>
          </p:cNvPr>
          <p:cNvSpPr/>
          <p:nvPr userDrawn="1"/>
        </p:nvSpPr>
        <p:spPr>
          <a:xfrm>
            <a:off x="7119938" y="2743200"/>
            <a:ext cx="2228850" cy="3429000"/>
          </a:xfrm>
          <a:custGeom>
            <a:avLst/>
            <a:gdLst/>
            <a:ahLst/>
            <a:cxnLst/>
            <a:rect l="l" t="t" r="r" b="b"/>
            <a:pathLst>
              <a:path w="3657600" h="4572000">
                <a:moveTo>
                  <a:pt x="3657600" y="0"/>
                </a:moveTo>
                <a:lnTo>
                  <a:pt x="0" y="0"/>
                </a:lnTo>
                <a:lnTo>
                  <a:pt x="0" y="4572000"/>
                </a:lnTo>
                <a:lnTo>
                  <a:pt x="3657600" y="4572000"/>
                </a:lnTo>
                <a:lnTo>
                  <a:pt x="3657600" y="0"/>
                </a:lnTo>
                <a:close/>
              </a:path>
            </a:pathLst>
          </a:custGeom>
          <a:solidFill>
            <a:schemeClr val="bg2"/>
          </a:solidFill>
        </p:spPr>
        <p:txBody>
          <a:bodyPr wrap="square" lIns="0" tIns="0" rIns="0" bIns="0" rtlCol="0"/>
          <a:lstStyle/>
          <a:p>
            <a:endParaRPr sz="731"/>
          </a:p>
        </p:txBody>
      </p:sp>
      <p:sp>
        <p:nvSpPr>
          <p:cNvPr id="12" name="object 13">
            <a:extLst>
              <a:ext uri="{FF2B5EF4-FFF2-40B4-BE49-F238E27FC236}">
                <a16:creationId xmlns:a16="http://schemas.microsoft.com/office/drawing/2014/main" id="{AEDC5B23-1647-49B1-8689-60FD3A78D068}"/>
              </a:ext>
            </a:extLst>
          </p:cNvPr>
          <p:cNvSpPr/>
          <p:nvPr/>
        </p:nvSpPr>
        <p:spPr>
          <a:xfrm>
            <a:off x="0" y="0"/>
            <a:ext cx="3219450" cy="6858000"/>
          </a:xfrm>
          <a:custGeom>
            <a:avLst/>
            <a:gdLst/>
            <a:ahLst/>
            <a:cxnLst/>
            <a:rect l="l" t="t" r="r" b="b"/>
            <a:pathLst>
              <a:path w="5283200" h="9144000">
                <a:moveTo>
                  <a:pt x="5283200" y="0"/>
                </a:moveTo>
                <a:lnTo>
                  <a:pt x="0" y="0"/>
                </a:lnTo>
                <a:lnTo>
                  <a:pt x="0" y="9144000"/>
                </a:lnTo>
                <a:lnTo>
                  <a:pt x="5283200" y="9144000"/>
                </a:lnTo>
                <a:lnTo>
                  <a:pt x="5283200" y="0"/>
                </a:lnTo>
                <a:close/>
              </a:path>
            </a:pathLst>
          </a:custGeom>
          <a:solidFill>
            <a:schemeClr val="bg2"/>
          </a:solidFill>
        </p:spPr>
        <p:txBody>
          <a:bodyPr wrap="square" lIns="0" tIns="0" rIns="0" bIns="0" rtlCol="0"/>
          <a:lstStyle/>
          <a:p>
            <a:endParaRPr sz="731"/>
          </a:p>
        </p:txBody>
      </p:sp>
      <p:sp>
        <p:nvSpPr>
          <p:cNvPr id="26" name="object 25">
            <a:extLst>
              <a:ext uri="{FF2B5EF4-FFF2-40B4-BE49-F238E27FC236}">
                <a16:creationId xmlns:a16="http://schemas.microsoft.com/office/drawing/2014/main" id="{B878D6D7-A21E-4916-A1DB-9ADACBC53B10}"/>
              </a:ext>
            </a:extLst>
          </p:cNvPr>
          <p:cNvSpPr/>
          <p:nvPr userDrawn="1"/>
        </p:nvSpPr>
        <p:spPr>
          <a:xfrm>
            <a:off x="6562725" y="1371599"/>
            <a:ext cx="1671638" cy="4800600"/>
          </a:xfrm>
          <a:custGeom>
            <a:avLst/>
            <a:gdLst/>
            <a:ahLst/>
            <a:cxnLst/>
            <a:rect l="l" t="t" r="r" b="b"/>
            <a:pathLst>
              <a:path w="2743200" h="6400800">
                <a:moveTo>
                  <a:pt x="914400" y="5486400"/>
                </a:moveTo>
                <a:lnTo>
                  <a:pt x="0" y="5486400"/>
                </a:lnTo>
                <a:lnTo>
                  <a:pt x="0" y="6400800"/>
                </a:lnTo>
                <a:lnTo>
                  <a:pt x="914400" y="6400800"/>
                </a:lnTo>
                <a:lnTo>
                  <a:pt x="914400" y="5486400"/>
                </a:lnTo>
                <a:close/>
              </a:path>
              <a:path w="2743200" h="6400800">
                <a:moveTo>
                  <a:pt x="914400" y="914400"/>
                </a:moveTo>
                <a:lnTo>
                  <a:pt x="0" y="914400"/>
                </a:lnTo>
                <a:lnTo>
                  <a:pt x="0" y="1828800"/>
                </a:lnTo>
                <a:lnTo>
                  <a:pt x="914400" y="1828800"/>
                </a:lnTo>
                <a:lnTo>
                  <a:pt x="914400" y="914400"/>
                </a:lnTo>
                <a:close/>
              </a:path>
              <a:path w="2743200" h="6400800">
                <a:moveTo>
                  <a:pt x="2743200" y="0"/>
                </a:moveTo>
                <a:lnTo>
                  <a:pt x="1828800" y="0"/>
                </a:lnTo>
                <a:lnTo>
                  <a:pt x="1828800" y="914400"/>
                </a:lnTo>
                <a:lnTo>
                  <a:pt x="2743200" y="914400"/>
                </a:lnTo>
                <a:lnTo>
                  <a:pt x="2743200" y="0"/>
                </a:lnTo>
                <a:close/>
              </a:path>
            </a:pathLst>
          </a:custGeom>
          <a:solidFill>
            <a:schemeClr val="bg2"/>
          </a:solidFill>
        </p:spPr>
        <p:txBody>
          <a:bodyPr wrap="square" lIns="0" tIns="0" rIns="0" bIns="0" rtlCol="0"/>
          <a:lstStyle/>
          <a:p>
            <a:endParaRPr sz="731"/>
          </a:p>
        </p:txBody>
      </p:sp>
      <p:sp>
        <p:nvSpPr>
          <p:cNvPr id="39" name="Picture Placeholder 5">
            <a:extLst>
              <a:ext uri="{FF2B5EF4-FFF2-40B4-BE49-F238E27FC236}">
                <a16:creationId xmlns:a16="http://schemas.microsoft.com/office/drawing/2014/main" id="{CF9F1995-3828-492B-8E00-DABB95B1CE12}"/>
              </a:ext>
            </a:extLst>
          </p:cNvPr>
          <p:cNvSpPr>
            <a:spLocks noGrp="1"/>
          </p:cNvSpPr>
          <p:nvPr>
            <p:ph type="pic" sz="quarter" idx="13" hasCustomPrompt="1"/>
          </p:nvPr>
        </p:nvSpPr>
        <p:spPr>
          <a:xfrm>
            <a:off x="557212" y="5486400"/>
            <a:ext cx="1547813" cy="685799"/>
          </a:xfrm>
          <a:noFill/>
          <a:ln>
            <a:noFill/>
          </a:ln>
        </p:spPr>
        <p:txBody>
          <a:bodyPr anchor="ctr"/>
          <a:lstStyle>
            <a:lvl1pPr algn="ctr">
              <a:defRPr sz="975"/>
            </a:lvl1pPr>
          </a:lstStyle>
          <a:p>
            <a:r>
              <a:rPr lang="fr-FR" dirty="0"/>
              <a:t>Insert logo</a:t>
            </a:r>
            <a:endParaRPr lang="en-US" dirty="0"/>
          </a:p>
        </p:txBody>
      </p:sp>
      <p:sp>
        <p:nvSpPr>
          <p:cNvPr id="3" name="Text Placeholder 2">
            <a:extLst>
              <a:ext uri="{FF2B5EF4-FFF2-40B4-BE49-F238E27FC236}">
                <a16:creationId xmlns:a16="http://schemas.microsoft.com/office/drawing/2014/main" id="{22E3D4C3-7FF7-4C2C-AC1C-58D153EBB799}"/>
              </a:ext>
            </a:extLst>
          </p:cNvPr>
          <p:cNvSpPr>
            <a:spLocks noGrp="1"/>
          </p:cNvSpPr>
          <p:nvPr>
            <p:ph type="body" sz="quarter" idx="18" hasCustomPrompt="1"/>
          </p:nvPr>
        </p:nvSpPr>
        <p:spPr>
          <a:xfrm>
            <a:off x="549473" y="1029173"/>
            <a:ext cx="2102316" cy="2114550"/>
          </a:xfrm>
        </p:spPr>
        <p:txBody>
          <a:body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a:extLst>
              <a:ext uri="{FF2B5EF4-FFF2-40B4-BE49-F238E27FC236}">
                <a16:creationId xmlns:a16="http://schemas.microsoft.com/office/drawing/2014/main" id="{34CC0C3C-8E8C-4602-B27C-EAA9C3EB8451}"/>
              </a:ext>
            </a:extLst>
          </p:cNvPr>
          <p:cNvSpPr>
            <a:spLocks noGrp="1"/>
          </p:cNvSpPr>
          <p:nvPr>
            <p:ph type="body" sz="quarter" idx="19" hasCustomPrompt="1"/>
          </p:nvPr>
        </p:nvSpPr>
        <p:spPr>
          <a:xfrm>
            <a:off x="3665736" y="1029173"/>
            <a:ext cx="2505908" cy="2114550"/>
          </a:xfrm>
        </p:spPr>
        <p:txBody>
          <a:bodyPr/>
          <a:lstStyle>
            <a:lvl1pPr>
              <a:defRPr/>
            </a:lvl1pPr>
            <a:lvl2pPr>
              <a:defRPr>
                <a:solidFill>
                  <a:schemeClr val="accent2"/>
                </a:solidFill>
              </a:defRPr>
            </a:lvl2pPr>
          </a:lstStyle>
          <a:p>
            <a:pPr lvl="0"/>
            <a:r>
              <a:rPr lang="en-US" dirty="0"/>
              <a:t>Text level 1</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CD69663-3C24-47D3-AADB-4E2655570CE3}"/>
              </a:ext>
            </a:extLst>
          </p:cNvPr>
          <p:cNvSpPr>
            <a:spLocks noGrp="1"/>
          </p:cNvSpPr>
          <p:nvPr>
            <p:ph type="ftr" sz="quarter" idx="20"/>
          </p:nvPr>
        </p:nvSpPr>
        <p:spPr/>
        <p:txBody>
          <a:bodyPr/>
          <a:lstStyle/>
          <a:p>
            <a:endParaRPr lang="en-US" dirty="0"/>
          </a:p>
        </p:txBody>
      </p:sp>
    </p:spTree>
    <p:extLst>
      <p:ext uri="{BB962C8B-B14F-4D97-AF65-F5344CB8AC3E}">
        <p14:creationId xmlns:p14="http://schemas.microsoft.com/office/powerpoint/2010/main" val="36745259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7841DCF2-2B94-45F3-94F5-118FE191F000}"/>
              </a:ext>
            </a:extLst>
          </p:cNvPr>
          <p:cNvSpPr>
            <a:spLocks noGrp="1"/>
          </p:cNvSpPr>
          <p:nvPr>
            <p:ph type="pic" sz="quarter" idx="14" hasCustomPrompt="1"/>
          </p:nvPr>
        </p:nvSpPr>
        <p:spPr>
          <a:xfrm>
            <a:off x="557213"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7" name="Text Placeholder 18">
            <a:extLst>
              <a:ext uri="{FF2B5EF4-FFF2-40B4-BE49-F238E27FC236}">
                <a16:creationId xmlns:a16="http://schemas.microsoft.com/office/drawing/2014/main" id="{9675BD83-58FE-4C71-B90D-479A1D8BFE5D}"/>
              </a:ext>
            </a:extLst>
          </p:cNvPr>
          <p:cNvSpPr>
            <a:spLocks noGrp="1"/>
          </p:cNvSpPr>
          <p:nvPr>
            <p:ph type="body" sz="quarter" idx="15" hasCustomPrompt="1"/>
          </p:nvPr>
        </p:nvSpPr>
        <p:spPr>
          <a:xfrm>
            <a:off x="1818680"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48" name="Picture Placeholder 47">
            <a:extLst>
              <a:ext uri="{FF2B5EF4-FFF2-40B4-BE49-F238E27FC236}">
                <a16:creationId xmlns:a16="http://schemas.microsoft.com/office/drawing/2014/main" id="{570C0C40-76FE-48E0-A40C-7FA39A611637}"/>
              </a:ext>
            </a:extLst>
          </p:cNvPr>
          <p:cNvSpPr>
            <a:spLocks noGrp="1"/>
          </p:cNvSpPr>
          <p:nvPr>
            <p:ph type="pic" sz="quarter" idx="13" hasCustomPrompt="1"/>
          </p:nvPr>
        </p:nvSpPr>
        <p:spPr>
          <a:xfrm>
            <a:off x="557213"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pic>
        <p:nvPicPr>
          <p:cNvPr id="9" name="Graphique 30">
            <a:extLst>
              <a:ext uri="{FF2B5EF4-FFF2-40B4-BE49-F238E27FC236}">
                <a16:creationId xmlns:a16="http://schemas.microsoft.com/office/drawing/2014/main" id="{770E9CC6-F60D-46FE-A773-33194C46E1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34363" y="485445"/>
            <a:ext cx="1114425" cy="323582"/>
          </a:xfrm>
          <a:prstGeom prst="rect">
            <a:avLst/>
          </a:prstGeom>
        </p:spPr>
      </p:pic>
      <p:sp>
        <p:nvSpPr>
          <p:cNvPr id="17" name="Holder 2">
            <a:extLst>
              <a:ext uri="{FF2B5EF4-FFF2-40B4-BE49-F238E27FC236}">
                <a16:creationId xmlns:a16="http://schemas.microsoft.com/office/drawing/2014/main" id="{05127B3F-A4EE-4D4A-96E3-28A732548DE7}"/>
              </a:ext>
            </a:extLst>
          </p:cNvPr>
          <p:cNvSpPr>
            <a:spLocks noGrp="1"/>
          </p:cNvSpPr>
          <p:nvPr>
            <p:ph type="ctrTitle" hasCustomPrompt="1"/>
          </p:nvPr>
        </p:nvSpPr>
        <p:spPr>
          <a:xfrm>
            <a:off x="549473" y="697701"/>
            <a:ext cx="7561065" cy="436516"/>
          </a:xfrm>
          <a:prstGeom prst="rect">
            <a:avLst/>
          </a:prstGeom>
        </p:spPr>
        <p:txBody>
          <a:bodyPr wrap="square" lIns="0" tIns="14400" rIns="0" bIns="0">
            <a:spAutoFit/>
          </a:bodyPr>
          <a:lstStyle>
            <a:lvl1pPr algn="l">
              <a:defRPr sz="2742" b="1">
                <a:solidFill>
                  <a:schemeClr val="accent2"/>
                </a:solidFill>
              </a:defRPr>
            </a:lvl1pPr>
          </a:lstStyle>
          <a:p>
            <a:r>
              <a:rPr lang="en-US" noProof="0" dirty="0"/>
              <a:t>Slide title</a:t>
            </a:r>
          </a:p>
        </p:txBody>
      </p:sp>
      <p:sp>
        <p:nvSpPr>
          <p:cNvPr id="37" name="Freeform: Shape 36">
            <a:extLst>
              <a:ext uri="{FF2B5EF4-FFF2-40B4-BE49-F238E27FC236}">
                <a16:creationId xmlns:a16="http://schemas.microsoft.com/office/drawing/2014/main" id="{8380F4B4-DFB8-45BA-BF39-FD12DC17938D}"/>
              </a:ext>
            </a:extLst>
          </p:cNvPr>
          <p:cNvSpPr/>
          <p:nvPr userDrawn="1"/>
        </p:nvSpPr>
        <p:spPr>
          <a:xfrm>
            <a:off x="0" y="5143500"/>
            <a:ext cx="9906000" cy="1714500"/>
          </a:xfrm>
          <a:custGeom>
            <a:avLst/>
            <a:gdLst>
              <a:gd name="connsiteX0" fmla="*/ 0 w 16256000"/>
              <a:gd name="connsiteY0" fmla="*/ 0 h 2286000"/>
              <a:gd name="connsiteX1" fmla="*/ 16256000 w 16256000"/>
              <a:gd name="connsiteY1" fmla="*/ 0 h 2286000"/>
              <a:gd name="connsiteX2" fmla="*/ 16256000 w 16256000"/>
              <a:gd name="connsiteY2" fmla="*/ 1371600 h 2286000"/>
              <a:gd name="connsiteX3" fmla="*/ 15341600 w 16256000"/>
              <a:gd name="connsiteY3" fmla="*/ 1371600 h 2286000"/>
              <a:gd name="connsiteX4" fmla="*/ 15341600 w 16256000"/>
              <a:gd name="connsiteY4" fmla="*/ 2286000 h 2286000"/>
              <a:gd name="connsiteX5" fmla="*/ 0 w 16256000"/>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6000" h="2286000">
                <a:moveTo>
                  <a:pt x="0" y="0"/>
                </a:moveTo>
                <a:lnTo>
                  <a:pt x="16256000" y="0"/>
                </a:lnTo>
                <a:lnTo>
                  <a:pt x="16256000" y="1371600"/>
                </a:lnTo>
                <a:lnTo>
                  <a:pt x="15341600" y="1371600"/>
                </a:lnTo>
                <a:lnTo>
                  <a:pt x="15341600" y="2286000"/>
                </a:lnTo>
                <a:lnTo>
                  <a:pt x="0" y="2286000"/>
                </a:lnTo>
                <a:close/>
              </a:path>
            </a:pathLst>
          </a:custGeom>
          <a:solidFill>
            <a:srgbClr val="222C4A"/>
          </a:solidFill>
        </p:spPr>
        <p:txBody>
          <a:bodyPr wrap="square" lIns="0" tIns="0" rIns="0" bIns="0" rtlCol="0">
            <a:noAutofit/>
          </a:bodyPr>
          <a:lstStyle/>
          <a:p>
            <a:endParaRPr sz="731"/>
          </a:p>
        </p:txBody>
      </p:sp>
      <p:grpSp>
        <p:nvGrpSpPr>
          <p:cNvPr id="4" name="Group 3">
            <a:extLst>
              <a:ext uri="{FF2B5EF4-FFF2-40B4-BE49-F238E27FC236}">
                <a16:creationId xmlns:a16="http://schemas.microsoft.com/office/drawing/2014/main" id="{6FA622AA-407E-4F46-953C-4F5CFFF27758}"/>
              </a:ext>
            </a:extLst>
          </p:cNvPr>
          <p:cNvGrpSpPr/>
          <p:nvPr userDrawn="1"/>
        </p:nvGrpSpPr>
        <p:grpSpPr>
          <a:xfrm>
            <a:off x="7820355" y="5902835"/>
            <a:ext cx="215146" cy="264795"/>
            <a:chOff x="12833403" y="7870446"/>
            <a:chExt cx="353060" cy="353060"/>
          </a:xfrm>
        </p:grpSpPr>
        <p:sp>
          <p:nvSpPr>
            <p:cNvPr id="15" name="object 14">
              <a:extLst>
                <a:ext uri="{FF2B5EF4-FFF2-40B4-BE49-F238E27FC236}">
                  <a16:creationId xmlns:a16="http://schemas.microsoft.com/office/drawing/2014/main" id="{FE6F9D51-5130-443F-B1D6-66A7423C656F}"/>
                </a:ext>
              </a:extLst>
            </p:cNvPr>
            <p:cNvSpPr/>
            <p:nvPr/>
          </p:nvSpPr>
          <p:spPr>
            <a:xfrm>
              <a:off x="12833403"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6" name="object 15">
              <a:extLst>
                <a:ext uri="{FF2B5EF4-FFF2-40B4-BE49-F238E27FC236}">
                  <a16:creationId xmlns:a16="http://schemas.microsoft.com/office/drawing/2014/main" id="{9D8A372B-5C39-4A64-9C1B-63367CD65657}"/>
                </a:ext>
              </a:extLst>
            </p:cNvPr>
            <p:cNvSpPr/>
            <p:nvPr/>
          </p:nvSpPr>
          <p:spPr>
            <a:xfrm>
              <a:off x="12956971" y="7938711"/>
              <a:ext cx="105664" cy="216268"/>
            </a:xfrm>
            <a:prstGeom prst="rect">
              <a:avLst/>
            </a:prstGeom>
            <a:blipFill>
              <a:blip r:embed="rId4" cstate="print"/>
              <a:stretch>
                <a:fillRect/>
              </a:stretch>
            </a:blipFill>
          </p:spPr>
          <p:txBody>
            <a:bodyPr wrap="square" lIns="0" tIns="0" rIns="0" bIns="0" rtlCol="0"/>
            <a:lstStyle/>
            <a:p>
              <a:endParaRPr sz="731"/>
            </a:p>
          </p:txBody>
        </p:sp>
      </p:grpSp>
      <p:grpSp>
        <p:nvGrpSpPr>
          <p:cNvPr id="6" name="Group 5">
            <a:extLst>
              <a:ext uri="{FF2B5EF4-FFF2-40B4-BE49-F238E27FC236}">
                <a16:creationId xmlns:a16="http://schemas.microsoft.com/office/drawing/2014/main" id="{5B1B7B49-0DA0-45B6-8E19-E1D65283D0ED}"/>
              </a:ext>
            </a:extLst>
          </p:cNvPr>
          <p:cNvGrpSpPr/>
          <p:nvPr userDrawn="1"/>
        </p:nvGrpSpPr>
        <p:grpSpPr>
          <a:xfrm>
            <a:off x="8147748" y="5902835"/>
            <a:ext cx="215146" cy="264795"/>
            <a:chOff x="13370664" y="7870446"/>
            <a:chExt cx="353060" cy="353060"/>
          </a:xfrm>
        </p:grpSpPr>
        <p:sp>
          <p:nvSpPr>
            <p:cNvPr id="18" name="object 16">
              <a:extLst>
                <a:ext uri="{FF2B5EF4-FFF2-40B4-BE49-F238E27FC236}">
                  <a16:creationId xmlns:a16="http://schemas.microsoft.com/office/drawing/2014/main" id="{656B5F96-588D-4950-953A-24C2FAA305BA}"/>
                </a:ext>
              </a:extLst>
            </p:cNvPr>
            <p:cNvSpPr/>
            <p:nvPr/>
          </p:nvSpPr>
          <p:spPr>
            <a:xfrm>
              <a:off x="13370664"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19" name="object 17">
              <a:extLst>
                <a:ext uri="{FF2B5EF4-FFF2-40B4-BE49-F238E27FC236}">
                  <a16:creationId xmlns:a16="http://schemas.microsoft.com/office/drawing/2014/main" id="{11BF1B32-D111-4881-9DFF-43E6C6F520A6}"/>
                </a:ext>
              </a:extLst>
            </p:cNvPr>
            <p:cNvSpPr/>
            <p:nvPr/>
          </p:nvSpPr>
          <p:spPr>
            <a:xfrm>
              <a:off x="13442765" y="7962081"/>
              <a:ext cx="208597" cy="169532"/>
            </a:xfrm>
            <a:prstGeom prst="rect">
              <a:avLst/>
            </a:prstGeom>
            <a:blipFill>
              <a:blip r:embed="rId5" cstate="print"/>
              <a:stretch>
                <a:fillRect/>
              </a:stretch>
            </a:blipFill>
          </p:spPr>
          <p:txBody>
            <a:bodyPr wrap="square" lIns="0" tIns="0" rIns="0" bIns="0" rtlCol="0"/>
            <a:lstStyle/>
            <a:p>
              <a:endParaRPr sz="731"/>
            </a:p>
          </p:txBody>
        </p:sp>
      </p:grpSp>
      <p:grpSp>
        <p:nvGrpSpPr>
          <p:cNvPr id="28" name="Group 27">
            <a:extLst>
              <a:ext uri="{FF2B5EF4-FFF2-40B4-BE49-F238E27FC236}">
                <a16:creationId xmlns:a16="http://schemas.microsoft.com/office/drawing/2014/main" id="{56C6C106-DE9F-424D-9B9A-C24F893C9D73}"/>
              </a:ext>
            </a:extLst>
          </p:cNvPr>
          <p:cNvGrpSpPr/>
          <p:nvPr userDrawn="1"/>
        </p:nvGrpSpPr>
        <p:grpSpPr>
          <a:xfrm>
            <a:off x="9129932" y="5902835"/>
            <a:ext cx="215146" cy="264795"/>
            <a:chOff x="14982452" y="7870446"/>
            <a:chExt cx="353060" cy="353060"/>
          </a:xfrm>
        </p:grpSpPr>
        <p:sp>
          <p:nvSpPr>
            <p:cNvPr id="20" name="object 18">
              <a:extLst>
                <a:ext uri="{FF2B5EF4-FFF2-40B4-BE49-F238E27FC236}">
                  <a16:creationId xmlns:a16="http://schemas.microsoft.com/office/drawing/2014/main" id="{48B0EE01-8313-438B-85E4-919E3227E5BE}"/>
                </a:ext>
              </a:extLst>
            </p:cNvPr>
            <p:cNvSpPr/>
            <p:nvPr/>
          </p:nvSpPr>
          <p:spPr>
            <a:xfrm>
              <a:off x="14982452"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1" name="object 19">
              <a:extLst>
                <a:ext uri="{FF2B5EF4-FFF2-40B4-BE49-F238E27FC236}">
                  <a16:creationId xmlns:a16="http://schemas.microsoft.com/office/drawing/2014/main" id="{4656ECC0-6C42-4410-9C22-44D7020441F1}"/>
                </a:ext>
              </a:extLst>
            </p:cNvPr>
            <p:cNvSpPr/>
            <p:nvPr/>
          </p:nvSpPr>
          <p:spPr>
            <a:xfrm>
              <a:off x="15049749" y="7937746"/>
              <a:ext cx="218198" cy="218198"/>
            </a:xfrm>
            <a:prstGeom prst="rect">
              <a:avLst/>
            </a:prstGeom>
            <a:blipFill>
              <a:blip r:embed="rId6" cstate="print"/>
              <a:stretch>
                <a:fillRect/>
              </a:stretch>
            </a:blipFill>
          </p:spPr>
          <p:txBody>
            <a:bodyPr wrap="square" lIns="0" tIns="0" rIns="0" bIns="0" rtlCol="0"/>
            <a:lstStyle/>
            <a:p>
              <a:endParaRPr sz="731"/>
            </a:p>
          </p:txBody>
        </p:sp>
      </p:grpSp>
      <p:grpSp>
        <p:nvGrpSpPr>
          <p:cNvPr id="27" name="Group 26">
            <a:extLst>
              <a:ext uri="{FF2B5EF4-FFF2-40B4-BE49-F238E27FC236}">
                <a16:creationId xmlns:a16="http://schemas.microsoft.com/office/drawing/2014/main" id="{3C6C8FFF-8FEA-4190-BEF9-18887051D0DD}"/>
              </a:ext>
            </a:extLst>
          </p:cNvPr>
          <p:cNvGrpSpPr/>
          <p:nvPr userDrawn="1"/>
        </p:nvGrpSpPr>
        <p:grpSpPr>
          <a:xfrm>
            <a:off x="8802538" y="5902835"/>
            <a:ext cx="215146" cy="264795"/>
            <a:chOff x="14445191" y="7870446"/>
            <a:chExt cx="353060" cy="353060"/>
          </a:xfrm>
        </p:grpSpPr>
        <p:sp>
          <p:nvSpPr>
            <p:cNvPr id="23" name="object 20">
              <a:extLst>
                <a:ext uri="{FF2B5EF4-FFF2-40B4-BE49-F238E27FC236}">
                  <a16:creationId xmlns:a16="http://schemas.microsoft.com/office/drawing/2014/main" id="{23414877-28FB-4DC1-8403-7063952D0A34}"/>
                </a:ext>
              </a:extLst>
            </p:cNvPr>
            <p:cNvSpPr/>
            <p:nvPr/>
          </p:nvSpPr>
          <p:spPr>
            <a:xfrm>
              <a:off x="14445191"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4" name="object 21">
              <a:extLst>
                <a:ext uri="{FF2B5EF4-FFF2-40B4-BE49-F238E27FC236}">
                  <a16:creationId xmlns:a16="http://schemas.microsoft.com/office/drawing/2014/main" id="{152A3D67-68A0-4395-A725-E4D4B063083F}"/>
                </a:ext>
              </a:extLst>
            </p:cNvPr>
            <p:cNvSpPr/>
            <p:nvPr/>
          </p:nvSpPr>
          <p:spPr>
            <a:xfrm>
              <a:off x="14516264" y="7973118"/>
              <a:ext cx="210654" cy="147447"/>
            </a:xfrm>
            <a:prstGeom prst="rect">
              <a:avLst/>
            </a:prstGeom>
            <a:blipFill>
              <a:blip r:embed="rId7" cstate="print"/>
              <a:stretch>
                <a:fillRect/>
              </a:stretch>
            </a:blipFill>
          </p:spPr>
          <p:txBody>
            <a:bodyPr wrap="square" lIns="0" tIns="0" rIns="0" bIns="0" rtlCol="0"/>
            <a:lstStyle/>
            <a:p>
              <a:endParaRPr sz="731"/>
            </a:p>
          </p:txBody>
        </p:sp>
      </p:grpSp>
      <p:grpSp>
        <p:nvGrpSpPr>
          <p:cNvPr id="8" name="Group 7">
            <a:extLst>
              <a:ext uri="{FF2B5EF4-FFF2-40B4-BE49-F238E27FC236}">
                <a16:creationId xmlns:a16="http://schemas.microsoft.com/office/drawing/2014/main" id="{59B15965-B2D7-4F16-8E53-EFCD29DF2415}"/>
              </a:ext>
            </a:extLst>
          </p:cNvPr>
          <p:cNvGrpSpPr/>
          <p:nvPr userDrawn="1"/>
        </p:nvGrpSpPr>
        <p:grpSpPr>
          <a:xfrm>
            <a:off x="8475144" y="5902835"/>
            <a:ext cx="215146" cy="264795"/>
            <a:chOff x="13907928" y="7870446"/>
            <a:chExt cx="353060" cy="353060"/>
          </a:xfrm>
        </p:grpSpPr>
        <p:sp>
          <p:nvSpPr>
            <p:cNvPr id="25" name="object 22">
              <a:extLst>
                <a:ext uri="{FF2B5EF4-FFF2-40B4-BE49-F238E27FC236}">
                  <a16:creationId xmlns:a16="http://schemas.microsoft.com/office/drawing/2014/main" id="{55F9FD29-BE99-4B55-9E02-369EDD098BF6}"/>
                </a:ext>
              </a:extLst>
            </p:cNvPr>
            <p:cNvSpPr/>
            <p:nvPr/>
          </p:nvSpPr>
          <p:spPr>
            <a:xfrm>
              <a:off x="13907928" y="7870446"/>
              <a:ext cx="353060" cy="353060"/>
            </a:xfrm>
            <a:custGeom>
              <a:avLst/>
              <a:gdLst/>
              <a:ahLst/>
              <a:cxnLst/>
              <a:rect l="l" t="t" r="r" b="b"/>
              <a:pathLst>
                <a:path w="353059" h="353059">
                  <a:moveTo>
                    <a:pt x="0" y="0"/>
                  </a:moveTo>
                  <a:lnTo>
                    <a:pt x="352793" y="0"/>
                  </a:lnTo>
                  <a:lnTo>
                    <a:pt x="352793" y="352793"/>
                  </a:lnTo>
                  <a:lnTo>
                    <a:pt x="0" y="352793"/>
                  </a:lnTo>
                  <a:lnTo>
                    <a:pt x="0" y="0"/>
                  </a:lnTo>
                  <a:close/>
                </a:path>
              </a:pathLst>
            </a:custGeom>
            <a:ln w="12700">
              <a:solidFill>
                <a:srgbClr val="FFFFFF"/>
              </a:solidFill>
            </a:ln>
          </p:spPr>
          <p:txBody>
            <a:bodyPr wrap="square" lIns="0" tIns="0" rIns="0" bIns="0" rtlCol="0"/>
            <a:lstStyle/>
            <a:p>
              <a:endParaRPr sz="731"/>
            </a:p>
          </p:txBody>
        </p:sp>
        <p:sp>
          <p:nvSpPr>
            <p:cNvPr id="26" name="object 23">
              <a:extLst>
                <a:ext uri="{FF2B5EF4-FFF2-40B4-BE49-F238E27FC236}">
                  <a16:creationId xmlns:a16="http://schemas.microsoft.com/office/drawing/2014/main" id="{BD7E5DCE-E3CE-4A81-935E-3853938624C6}"/>
                </a:ext>
              </a:extLst>
            </p:cNvPr>
            <p:cNvSpPr/>
            <p:nvPr/>
          </p:nvSpPr>
          <p:spPr>
            <a:xfrm>
              <a:off x="13990901" y="7954696"/>
              <a:ext cx="186842" cy="184302"/>
            </a:xfrm>
            <a:prstGeom prst="rect">
              <a:avLst/>
            </a:prstGeom>
            <a:blipFill>
              <a:blip r:embed="rId8" cstate="print"/>
              <a:stretch>
                <a:fillRect/>
              </a:stretch>
            </a:blipFill>
          </p:spPr>
          <p:txBody>
            <a:bodyPr wrap="square" lIns="0" tIns="0" rIns="0" bIns="0" rtlCol="0"/>
            <a:lstStyle/>
            <a:p>
              <a:endParaRPr sz="731"/>
            </a:p>
          </p:txBody>
        </p:sp>
      </p:grpSp>
      <p:sp>
        <p:nvSpPr>
          <p:cNvPr id="30" name="object 8">
            <a:extLst>
              <a:ext uri="{FF2B5EF4-FFF2-40B4-BE49-F238E27FC236}">
                <a16:creationId xmlns:a16="http://schemas.microsoft.com/office/drawing/2014/main" id="{30407C8C-1F92-4D15-91A5-2F39144E61A5}"/>
              </a:ext>
            </a:extLst>
          </p:cNvPr>
          <p:cNvSpPr txBox="1"/>
          <p:nvPr userDrawn="1"/>
        </p:nvSpPr>
        <p:spPr>
          <a:xfrm>
            <a:off x="7820355" y="5487350"/>
            <a:ext cx="1536557"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grpSp>
        <p:nvGrpSpPr>
          <p:cNvPr id="38" name="Graphique 30">
            <a:extLst>
              <a:ext uri="{FF2B5EF4-FFF2-40B4-BE49-F238E27FC236}">
                <a16:creationId xmlns:a16="http://schemas.microsoft.com/office/drawing/2014/main" id="{EFD8DA84-E25B-4397-9A13-BE58B213B7EB}"/>
              </a:ext>
            </a:extLst>
          </p:cNvPr>
          <p:cNvGrpSpPr>
            <a:grpSpLocks noChangeAspect="1"/>
          </p:cNvGrpSpPr>
          <p:nvPr userDrawn="1"/>
        </p:nvGrpSpPr>
        <p:grpSpPr>
          <a:xfrm>
            <a:off x="557213" y="5553303"/>
            <a:ext cx="2228850" cy="650468"/>
            <a:chOff x="6756400" y="5334000"/>
            <a:chExt cx="1824936" cy="432729"/>
          </a:xfrm>
        </p:grpSpPr>
        <p:sp>
          <p:nvSpPr>
            <p:cNvPr id="39" name="Freeform: Shape 38">
              <a:extLst>
                <a:ext uri="{FF2B5EF4-FFF2-40B4-BE49-F238E27FC236}">
                  <a16:creationId xmlns:a16="http://schemas.microsoft.com/office/drawing/2014/main" id="{4D7AB141-7BCF-40C0-B8C8-1BE3AA1B10F4}"/>
                </a:ext>
              </a:extLst>
            </p:cNvPr>
            <p:cNvSpPr/>
            <p:nvPr/>
          </p:nvSpPr>
          <p:spPr>
            <a:xfrm>
              <a:off x="7041667" y="5675289"/>
              <a:ext cx="1254402" cy="91439"/>
            </a:xfrm>
            <a:custGeom>
              <a:avLst/>
              <a:gdLst>
                <a:gd name="connsiteX0" fmla="*/ 70834 w 1254402"/>
                <a:gd name="connsiteY0" fmla="*/ 31553 h 91439"/>
                <a:gd name="connsiteX1" fmla="*/ 47652 w 1254402"/>
                <a:gd name="connsiteY1" fmla="*/ 53447 h 91439"/>
                <a:gd name="connsiteX2" fmla="*/ 15455 w 1254402"/>
                <a:gd name="connsiteY2" fmla="*/ 53447 h 91439"/>
                <a:gd name="connsiteX3" fmla="*/ 15455 w 1254402"/>
                <a:gd name="connsiteY3" fmla="*/ 69546 h 91439"/>
                <a:gd name="connsiteX4" fmla="*/ 0 w 1254402"/>
                <a:gd name="connsiteY4" fmla="*/ 69546 h 91439"/>
                <a:gd name="connsiteX5" fmla="*/ 0 w 1254402"/>
                <a:gd name="connsiteY5" fmla="*/ 9015 h 91439"/>
                <a:gd name="connsiteX6" fmla="*/ 47652 w 1254402"/>
                <a:gd name="connsiteY6" fmla="*/ 9015 h 91439"/>
                <a:gd name="connsiteX7" fmla="*/ 70834 w 1254402"/>
                <a:gd name="connsiteY7" fmla="*/ 31553 h 91439"/>
                <a:gd name="connsiteX8" fmla="*/ 55379 w 1254402"/>
                <a:gd name="connsiteY8" fmla="*/ 31553 h 91439"/>
                <a:gd name="connsiteX9" fmla="*/ 43788 w 1254402"/>
                <a:gd name="connsiteY9" fmla="*/ 22538 h 91439"/>
                <a:gd name="connsiteX10" fmla="*/ 16099 w 1254402"/>
                <a:gd name="connsiteY10" fmla="*/ 22538 h 91439"/>
                <a:gd name="connsiteX11" fmla="*/ 16099 w 1254402"/>
                <a:gd name="connsiteY11" fmla="*/ 40568 h 91439"/>
                <a:gd name="connsiteX12" fmla="*/ 43144 w 1254402"/>
                <a:gd name="connsiteY12" fmla="*/ 40568 h 91439"/>
                <a:gd name="connsiteX13" fmla="*/ 55379 w 1254402"/>
                <a:gd name="connsiteY13" fmla="*/ 31553 h 91439"/>
                <a:gd name="connsiteX14" fmla="*/ 79849 w 1254402"/>
                <a:gd name="connsiteY14" fmla="*/ 44432 h 91439"/>
                <a:gd name="connsiteX15" fmla="*/ 115266 w 1254402"/>
                <a:gd name="connsiteY15" fmla="*/ 18030 h 91439"/>
                <a:gd name="connsiteX16" fmla="*/ 150683 w 1254402"/>
                <a:gd name="connsiteY16" fmla="*/ 44432 h 91439"/>
                <a:gd name="connsiteX17" fmla="*/ 115266 w 1254402"/>
                <a:gd name="connsiteY17" fmla="*/ 70834 h 91439"/>
                <a:gd name="connsiteX18" fmla="*/ 79849 w 1254402"/>
                <a:gd name="connsiteY18" fmla="*/ 44432 h 91439"/>
                <a:gd name="connsiteX19" fmla="*/ 135228 w 1254402"/>
                <a:gd name="connsiteY19" fmla="*/ 44432 h 91439"/>
                <a:gd name="connsiteX20" fmla="*/ 114622 w 1254402"/>
                <a:gd name="connsiteY20" fmla="*/ 30265 h 91439"/>
                <a:gd name="connsiteX21" fmla="*/ 94016 w 1254402"/>
                <a:gd name="connsiteY21" fmla="*/ 44432 h 91439"/>
                <a:gd name="connsiteX22" fmla="*/ 114622 w 1254402"/>
                <a:gd name="connsiteY22" fmla="*/ 58599 h 91439"/>
                <a:gd name="connsiteX23" fmla="*/ 135228 w 1254402"/>
                <a:gd name="connsiteY23" fmla="*/ 44432 h 91439"/>
                <a:gd name="connsiteX24" fmla="*/ 173221 w 1254402"/>
                <a:gd name="connsiteY24" fmla="*/ 52159 h 91439"/>
                <a:gd name="connsiteX25" fmla="*/ 195115 w 1254402"/>
                <a:gd name="connsiteY25" fmla="*/ 59887 h 91439"/>
                <a:gd name="connsiteX26" fmla="*/ 213789 w 1254402"/>
                <a:gd name="connsiteY26" fmla="*/ 54735 h 91439"/>
                <a:gd name="connsiteX27" fmla="*/ 193827 w 1254402"/>
                <a:gd name="connsiteY27" fmla="*/ 49584 h 91439"/>
                <a:gd name="connsiteX28" fmla="*/ 160342 w 1254402"/>
                <a:gd name="connsiteY28" fmla="*/ 34129 h 91439"/>
                <a:gd name="connsiteX29" fmla="*/ 193827 w 1254402"/>
                <a:gd name="connsiteY29" fmla="*/ 18674 h 91439"/>
                <a:gd name="connsiteX30" fmla="*/ 226668 w 1254402"/>
                <a:gd name="connsiteY30" fmla="*/ 35417 h 91439"/>
                <a:gd name="connsiteX31" fmla="*/ 211857 w 1254402"/>
                <a:gd name="connsiteY31" fmla="*/ 35417 h 91439"/>
                <a:gd name="connsiteX32" fmla="*/ 192539 w 1254402"/>
                <a:gd name="connsiteY32" fmla="*/ 30265 h 91439"/>
                <a:gd name="connsiteX33" fmla="*/ 174509 w 1254402"/>
                <a:gd name="connsiteY33" fmla="*/ 34129 h 91439"/>
                <a:gd name="connsiteX34" fmla="*/ 194471 w 1254402"/>
                <a:gd name="connsiteY34" fmla="*/ 39281 h 91439"/>
                <a:gd name="connsiteX35" fmla="*/ 227956 w 1254402"/>
                <a:gd name="connsiteY35" fmla="*/ 54735 h 91439"/>
                <a:gd name="connsiteX36" fmla="*/ 195759 w 1254402"/>
                <a:gd name="connsiteY36" fmla="*/ 71478 h 91439"/>
                <a:gd name="connsiteX37" fmla="*/ 158410 w 1254402"/>
                <a:gd name="connsiteY37" fmla="*/ 52803 h 91439"/>
                <a:gd name="connsiteX38" fmla="*/ 173221 w 1254402"/>
                <a:gd name="connsiteY38" fmla="*/ 52803 h 91439"/>
                <a:gd name="connsiteX39" fmla="*/ 254358 w 1254402"/>
                <a:gd name="connsiteY39" fmla="*/ 644 h 91439"/>
                <a:gd name="connsiteX40" fmla="*/ 254358 w 1254402"/>
                <a:gd name="connsiteY40" fmla="*/ 13523 h 91439"/>
                <a:gd name="connsiteX41" fmla="*/ 239547 w 1254402"/>
                <a:gd name="connsiteY41" fmla="*/ 13523 h 91439"/>
                <a:gd name="connsiteX42" fmla="*/ 239547 w 1254402"/>
                <a:gd name="connsiteY42" fmla="*/ 644 h 91439"/>
                <a:gd name="connsiteX43" fmla="*/ 254358 w 1254402"/>
                <a:gd name="connsiteY43" fmla="*/ 644 h 91439"/>
                <a:gd name="connsiteX44" fmla="*/ 254358 w 1254402"/>
                <a:gd name="connsiteY44" fmla="*/ 19318 h 91439"/>
                <a:gd name="connsiteX45" fmla="*/ 254358 w 1254402"/>
                <a:gd name="connsiteY45" fmla="*/ 70190 h 91439"/>
                <a:gd name="connsiteX46" fmla="*/ 239547 w 1254402"/>
                <a:gd name="connsiteY46" fmla="*/ 70190 h 91439"/>
                <a:gd name="connsiteX47" fmla="*/ 239547 w 1254402"/>
                <a:gd name="connsiteY47" fmla="*/ 19318 h 91439"/>
                <a:gd name="connsiteX48" fmla="*/ 254358 w 1254402"/>
                <a:gd name="connsiteY48" fmla="*/ 19318 h 91439"/>
                <a:gd name="connsiteX49" fmla="*/ 292994 w 1254402"/>
                <a:gd name="connsiteY49" fmla="*/ 31553 h 91439"/>
                <a:gd name="connsiteX50" fmla="*/ 292994 w 1254402"/>
                <a:gd name="connsiteY50" fmla="*/ 46364 h 91439"/>
                <a:gd name="connsiteX51" fmla="*/ 303941 w 1254402"/>
                <a:gd name="connsiteY51" fmla="*/ 58599 h 91439"/>
                <a:gd name="connsiteX52" fmla="*/ 316820 w 1254402"/>
                <a:gd name="connsiteY52" fmla="*/ 57955 h 91439"/>
                <a:gd name="connsiteX53" fmla="*/ 316820 w 1254402"/>
                <a:gd name="connsiteY53" fmla="*/ 69546 h 91439"/>
                <a:gd name="connsiteX54" fmla="*/ 299434 w 1254402"/>
                <a:gd name="connsiteY54" fmla="*/ 70834 h 91439"/>
                <a:gd name="connsiteX55" fmla="*/ 278184 w 1254402"/>
                <a:gd name="connsiteY55" fmla="*/ 54735 h 91439"/>
                <a:gd name="connsiteX56" fmla="*/ 278184 w 1254402"/>
                <a:gd name="connsiteY56" fmla="*/ 31553 h 91439"/>
                <a:gd name="connsiteX57" fmla="*/ 264661 w 1254402"/>
                <a:gd name="connsiteY57" fmla="*/ 31553 h 91439"/>
                <a:gd name="connsiteX58" fmla="*/ 264661 w 1254402"/>
                <a:gd name="connsiteY58" fmla="*/ 19318 h 91439"/>
                <a:gd name="connsiteX59" fmla="*/ 278184 w 1254402"/>
                <a:gd name="connsiteY59" fmla="*/ 19318 h 91439"/>
                <a:gd name="connsiteX60" fmla="*/ 278184 w 1254402"/>
                <a:gd name="connsiteY60" fmla="*/ 9015 h 91439"/>
                <a:gd name="connsiteX61" fmla="*/ 292994 w 1254402"/>
                <a:gd name="connsiteY61" fmla="*/ 4508 h 91439"/>
                <a:gd name="connsiteX62" fmla="*/ 292994 w 1254402"/>
                <a:gd name="connsiteY62" fmla="*/ 19318 h 91439"/>
                <a:gd name="connsiteX63" fmla="*/ 316820 w 1254402"/>
                <a:gd name="connsiteY63" fmla="*/ 19318 h 91439"/>
                <a:gd name="connsiteX64" fmla="*/ 316820 w 1254402"/>
                <a:gd name="connsiteY64" fmla="*/ 31553 h 91439"/>
                <a:gd name="connsiteX65" fmla="*/ 292994 w 1254402"/>
                <a:gd name="connsiteY65" fmla="*/ 31553 h 91439"/>
                <a:gd name="connsiteX66" fmla="*/ 342578 w 1254402"/>
                <a:gd name="connsiteY66" fmla="*/ 644 h 91439"/>
                <a:gd name="connsiteX67" fmla="*/ 342578 w 1254402"/>
                <a:gd name="connsiteY67" fmla="*/ 13523 h 91439"/>
                <a:gd name="connsiteX68" fmla="*/ 327767 w 1254402"/>
                <a:gd name="connsiteY68" fmla="*/ 13523 h 91439"/>
                <a:gd name="connsiteX69" fmla="*/ 327767 w 1254402"/>
                <a:gd name="connsiteY69" fmla="*/ 644 h 91439"/>
                <a:gd name="connsiteX70" fmla="*/ 342578 w 1254402"/>
                <a:gd name="connsiteY70" fmla="*/ 644 h 91439"/>
                <a:gd name="connsiteX71" fmla="*/ 342578 w 1254402"/>
                <a:gd name="connsiteY71" fmla="*/ 19318 h 91439"/>
                <a:gd name="connsiteX72" fmla="*/ 342578 w 1254402"/>
                <a:gd name="connsiteY72" fmla="*/ 70190 h 91439"/>
                <a:gd name="connsiteX73" fmla="*/ 327767 w 1254402"/>
                <a:gd name="connsiteY73" fmla="*/ 70190 h 91439"/>
                <a:gd name="connsiteX74" fmla="*/ 327767 w 1254402"/>
                <a:gd name="connsiteY74" fmla="*/ 19318 h 91439"/>
                <a:gd name="connsiteX75" fmla="*/ 342578 w 1254402"/>
                <a:gd name="connsiteY75" fmla="*/ 19318 h 91439"/>
                <a:gd name="connsiteX76" fmla="*/ 424359 w 1254402"/>
                <a:gd name="connsiteY76" fmla="*/ 19318 h 91439"/>
                <a:gd name="connsiteX77" fmla="*/ 398601 w 1254402"/>
                <a:gd name="connsiteY77" fmla="*/ 70190 h 91439"/>
                <a:gd name="connsiteX78" fmla="*/ 377995 w 1254402"/>
                <a:gd name="connsiteY78" fmla="*/ 70190 h 91439"/>
                <a:gd name="connsiteX79" fmla="*/ 352237 w 1254402"/>
                <a:gd name="connsiteY79" fmla="*/ 19318 h 91439"/>
                <a:gd name="connsiteX80" fmla="*/ 368336 w 1254402"/>
                <a:gd name="connsiteY80" fmla="*/ 19318 h 91439"/>
                <a:gd name="connsiteX81" fmla="*/ 388298 w 1254402"/>
                <a:gd name="connsiteY81" fmla="*/ 59887 h 91439"/>
                <a:gd name="connsiteX82" fmla="*/ 408260 w 1254402"/>
                <a:gd name="connsiteY82" fmla="*/ 19318 h 91439"/>
                <a:gd name="connsiteX83" fmla="*/ 424359 w 1254402"/>
                <a:gd name="connsiteY83" fmla="*/ 19318 h 91439"/>
                <a:gd name="connsiteX84" fmla="*/ 481670 w 1254402"/>
                <a:gd name="connsiteY84" fmla="*/ 51515 h 91439"/>
                <a:gd name="connsiteX85" fmla="*/ 496481 w 1254402"/>
                <a:gd name="connsiteY85" fmla="*/ 51515 h 91439"/>
                <a:gd name="connsiteX86" fmla="*/ 461708 w 1254402"/>
                <a:gd name="connsiteY86" fmla="*/ 70834 h 91439"/>
                <a:gd name="connsiteX87" fmla="*/ 427579 w 1254402"/>
                <a:gd name="connsiteY87" fmla="*/ 44432 h 91439"/>
                <a:gd name="connsiteX88" fmla="*/ 462995 w 1254402"/>
                <a:gd name="connsiteY88" fmla="*/ 18030 h 91439"/>
                <a:gd name="connsiteX89" fmla="*/ 497768 w 1254402"/>
                <a:gd name="connsiteY89" fmla="*/ 47652 h 91439"/>
                <a:gd name="connsiteX90" fmla="*/ 442389 w 1254402"/>
                <a:gd name="connsiteY90" fmla="*/ 47652 h 91439"/>
                <a:gd name="connsiteX91" fmla="*/ 461708 w 1254402"/>
                <a:gd name="connsiteY91" fmla="*/ 58599 h 91439"/>
                <a:gd name="connsiteX92" fmla="*/ 481670 w 1254402"/>
                <a:gd name="connsiteY92" fmla="*/ 51515 h 91439"/>
                <a:gd name="connsiteX93" fmla="*/ 442389 w 1254402"/>
                <a:gd name="connsiteY93" fmla="*/ 38637 h 91439"/>
                <a:gd name="connsiteX94" fmla="*/ 481026 w 1254402"/>
                <a:gd name="connsiteY94" fmla="*/ 38637 h 91439"/>
                <a:gd name="connsiteX95" fmla="*/ 461708 w 1254402"/>
                <a:gd name="connsiteY95" fmla="*/ 29621 h 91439"/>
                <a:gd name="connsiteX96" fmla="*/ 442389 w 1254402"/>
                <a:gd name="connsiteY96" fmla="*/ 38637 h 91439"/>
                <a:gd name="connsiteX97" fmla="*/ 622694 w 1254402"/>
                <a:gd name="connsiteY97" fmla="*/ 644 h 91439"/>
                <a:gd name="connsiteX98" fmla="*/ 622694 w 1254402"/>
                <a:gd name="connsiteY98" fmla="*/ 69546 h 91439"/>
                <a:gd name="connsiteX99" fmla="*/ 607883 w 1254402"/>
                <a:gd name="connsiteY99" fmla="*/ 69546 h 91439"/>
                <a:gd name="connsiteX100" fmla="*/ 607883 w 1254402"/>
                <a:gd name="connsiteY100" fmla="*/ 61819 h 91439"/>
                <a:gd name="connsiteX101" fmla="*/ 582769 w 1254402"/>
                <a:gd name="connsiteY101" fmla="*/ 70834 h 91439"/>
                <a:gd name="connsiteX102" fmla="*/ 552504 w 1254402"/>
                <a:gd name="connsiteY102" fmla="*/ 44432 h 91439"/>
                <a:gd name="connsiteX103" fmla="*/ 582769 w 1254402"/>
                <a:gd name="connsiteY103" fmla="*/ 18030 h 91439"/>
                <a:gd name="connsiteX104" fmla="*/ 607883 w 1254402"/>
                <a:gd name="connsiteY104" fmla="*/ 27046 h 91439"/>
                <a:gd name="connsiteX105" fmla="*/ 607883 w 1254402"/>
                <a:gd name="connsiteY105" fmla="*/ 644 h 91439"/>
                <a:gd name="connsiteX106" fmla="*/ 622694 w 1254402"/>
                <a:gd name="connsiteY106" fmla="*/ 644 h 91439"/>
                <a:gd name="connsiteX107" fmla="*/ 607883 w 1254402"/>
                <a:gd name="connsiteY107" fmla="*/ 44432 h 91439"/>
                <a:gd name="connsiteX108" fmla="*/ 587277 w 1254402"/>
                <a:gd name="connsiteY108" fmla="*/ 30265 h 91439"/>
                <a:gd name="connsiteX109" fmla="*/ 566670 w 1254402"/>
                <a:gd name="connsiteY109" fmla="*/ 44432 h 91439"/>
                <a:gd name="connsiteX110" fmla="*/ 587277 w 1254402"/>
                <a:gd name="connsiteY110" fmla="*/ 58599 h 91439"/>
                <a:gd name="connsiteX111" fmla="*/ 607883 w 1254402"/>
                <a:gd name="connsiteY111" fmla="*/ 44432 h 91439"/>
                <a:gd name="connsiteX112" fmla="*/ 649739 w 1254402"/>
                <a:gd name="connsiteY112" fmla="*/ 644 h 91439"/>
                <a:gd name="connsiteX113" fmla="*/ 649739 w 1254402"/>
                <a:gd name="connsiteY113" fmla="*/ 13523 h 91439"/>
                <a:gd name="connsiteX114" fmla="*/ 634928 w 1254402"/>
                <a:gd name="connsiteY114" fmla="*/ 13523 h 91439"/>
                <a:gd name="connsiteX115" fmla="*/ 634928 w 1254402"/>
                <a:gd name="connsiteY115" fmla="*/ 644 h 91439"/>
                <a:gd name="connsiteX116" fmla="*/ 649739 w 1254402"/>
                <a:gd name="connsiteY116" fmla="*/ 644 h 91439"/>
                <a:gd name="connsiteX117" fmla="*/ 649739 w 1254402"/>
                <a:gd name="connsiteY117" fmla="*/ 19318 h 91439"/>
                <a:gd name="connsiteX118" fmla="*/ 649739 w 1254402"/>
                <a:gd name="connsiteY118" fmla="*/ 70190 h 91439"/>
                <a:gd name="connsiteX119" fmla="*/ 634928 w 1254402"/>
                <a:gd name="connsiteY119" fmla="*/ 70190 h 91439"/>
                <a:gd name="connsiteX120" fmla="*/ 634928 w 1254402"/>
                <a:gd name="connsiteY120" fmla="*/ 19318 h 91439"/>
                <a:gd name="connsiteX121" fmla="*/ 649739 w 1254402"/>
                <a:gd name="connsiteY121" fmla="*/ 19318 h 91439"/>
                <a:gd name="connsiteX122" fmla="*/ 730876 w 1254402"/>
                <a:gd name="connsiteY122" fmla="*/ 19318 h 91439"/>
                <a:gd name="connsiteX123" fmla="*/ 730876 w 1254402"/>
                <a:gd name="connsiteY123" fmla="*/ 61819 h 91439"/>
                <a:gd name="connsiteX124" fmla="*/ 698035 w 1254402"/>
                <a:gd name="connsiteY124" fmla="*/ 91440 h 91439"/>
                <a:gd name="connsiteX125" fmla="*/ 666482 w 1254402"/>
                <a:gd name="connsiteY125" fmla="*/ 87576 h 91439"/>
                <a:gd name="connsiteX126" fmla="*/ 666482 w 1254402"/>
                <a:gd name="connsiteY126" fmla="*/ 75985 h 91439"/>
                <a:gd name="connsiteX127" fmla="*/ 694815 w 1254402"/>
                <a:gd name="connsiteY127" fmla="*/ 79849 h 91439"/>
                <a:gd name="connsiteX128" fmla="*/ 716065 w 1254402"/>
                <a:gd name="connsiteY128" fmla="*/ 61175 h 91439"/>
                <a:gd name="connsiteX129" fmla="*/ 690308 w 1254402"/>
                <a:gd name="connsiteY129" fmla="*/ 70190 h 91439"/>
                <a:gd name="connsiteX130" fmla="*/ 660686 w 1254402"/>
                <a:gd name="connsiteY130" fmla="*/ 44432 h 91439"/>
                <a:gd name="connsiteX131" fmla="*/ 690308 w 1254402"/>
                <a:gd name="connsiteY131" fmla="*/ 18674 h 91439"/>
                <a:gd name="connsiteX132" fmla="*/ 716065 w 1254402"/>
                <a:gd name="connsiteY132" fmla="*/ 27690 h 91439"/>
                <a:gd name="connsiteX133" fmla="*/ 716065 w 1254402"/>
                <a:gd name="connsiteY133" fmla="*/ 19318 h 91439"/>
                <a:gd name="connsiteX134" fmla="*/ 730876 w 1254402"/>
                <a:gd name="connsiteY134" fmla="*/ 19318 h 91439"/>
                <a:gd name="connsiteX135" fmla="*/ 715421 w 1254402"/>
                <a:gd name="connsiteY135" fmla="*/ 43788 h 91439"/>
                <a:gd name="connsiteX136" fmla="*/ 694815 w 1254402"/>
                <a:gd name="connsiteY136" fmla="*/ 30909 h 91439"/>
                <a:gd name="connsiteX137" fmla="*/ 674209 w 1254402"/>
                <a:gd name="connsiteY137" fmla="*/ 43788 h 91439"/>
                <a:gd name="connsiteX138" fmla="*/ 694815 w 1254402"/>
                <a:gd name="connsiteY138" fmla="*/ 56667 h 91439"/>
                <a:gd name="connsiteX139" fmla="*/ 715421 w 1254402"/>
                <a:gd name="connsiteY139" fmla="*/ 43788 h 91439"/>
                <a:gd name="connsiteX140" fmla="*/ 757278 w 1254402"/>
                <a:gd name="connsiteY140" fmla="*/ 644 h 91439"/>
                <a:gd name="connsiteX141" fmla="*/ 757278 w 1254402"/>
                <a:gd name="connsiteY141" fmla="*/ 13523 h 91439"/>
                <a:gd name="connsiteX142" fmla="*/ 742467 w 1254402"/>
                <a:gd name="connsiteY142" fmla="*/ 13523 h 91439"/>
                <a:gd name="connsiteX143" fmla="*/ 742467 w 1254402"/>
                <a:gd name="connsiteY143" fmla="*/ 644 h 91439"/>
                <a:gd name="connsiteX144" fmla="*/ 757278 w 1254402"/>
                <a:gd name="connsiteY144" fmla="*/ 644 h 91439"/>
                <a:gd name="connsiteX145" fmla="*/ 757278 w 1254402"/>
                <a:gd name="connsiteY145" fmla="*/ 19318 h 91439"/>
                <a:gd name="connsiteX146" fmla="*/ 757278 w 1254402"/>
                <a:gd name="connsiteY146" fmla="*/ 70190 h 91439"/>
                <a:gd name="connsiteX147" fmla="*/ 742467 w 1254402"/>
                <a:gd name="connsiteY147" fmla="*/ 70190 h 91439"/>
                <a:gd name="connsiteX148" fmla="*/ 742467 w 1254402"/>
                <a:gd name="connsiteY148" fmla="*/ 19318 h 91439"/>
                <a:gd name="connsiteX149" fmla="*/ 757278 w 1254402"/>
                <a:gd name="connsiteY149" fmla="*/ 19318 h 91439"/>
                <a:gd name="connsiteX150" fmla="*/ 795914 w 1254402"/>
                <a:gd name="connsiteY150" fmla="*/ 31553 h 91439"/>
                <a:gd name="connsiteX151" fmla="*/ 795914 w 1254402"/>
                <a:gd name="connsiteY151" fmla="*/ 46364 h 91439"/>
                <a:gd name="connsiteX152" fmla="*/ 806861 w 1254402"/>
                <a:gd name="connsiteY152" fmla="*/ 58599 h 91439"/>
                <a:gd name="connsiteX153" fmla="*/ 819740 w 1254402"/>
                <a:gd name="connsiteY153" fmla="*/ 57955 h 91439"/>
                <a:gd name="connsiteX154" fmla="*/ 819740 w 1254402"/>
                <a:gd name="connsiteY154" fmla="*/ 69546 h 91439"/>
                <a:gd name="connsiteX155" fmla="*/ 802354 w 1254402"/>
                <a:gd name="connsiteY155" fmla="*/ 70834 h 91439"/>
                <a:gd name="connsiteX156" fmla="*/ 781104 w 1254402"/>
                <a:gd name="connsiteY156" fmla="*/ 54735 h 91439"/>
                <a:gd name="connsiteX157" fmla="*/ 781104 w 1254402"/>
                <a:gd name="connsiteY157" fmla="*/ 31553 h 91439"/>
                <a:gd name="connsiteX158" fmla="*/ 767581 w 1254402"/>
                <a:gd name="connsiteY158" fmla="*/ 31553 h 91439"/>
                <a:gd name="connsiteX159" fmla="*/ 767581 w 1254402"/>
                <a:gd name="connsiteY159" fmla="*/ 19318 h 91439"/>
                <a:gd name="connsiteX160" fmla="*/ 781104 w 1254402"/>
                <a:gd name="connsiteY160" fmla="*/ 19318 h 91439"/>
                <a:gd name="connsiteX161" fmla="*/ 781104 w 1254402"/>
                <a:gd name="connsiteY161" fmla="*/ 9015 h 91439"/>
                <a:gd name="connsiteX162" fmla="*/ 795914 w 1254402"/>
                <a:gd name="connsiteY162" fmla="*/ 4508 h 91439"/>
                <a:gd name="connsiteX163" fmla="*/ 795914 w 1254402"/>
                <a:gd name="connsiteY163" fmla="*/ 19318 h 91439"/>
                <a:gd name="connsiteX164" fmla="*/ 819740 w 1254402"/>
                <a:gd name="connsiteY164" fmla="*/ 19318 h 91439"/>
                <a:gd name="connsiteX165" fmla="*/ 819740 w 1254402"/>
                <a:gd name="connsiteY165" fmla="*/ 31553 h 91439"/>
                <a:gd name="connsiteX166" fmla="*/ 795914 w 1254402"/>
                <a:gd name="connsiteY166" fmla="*/ 31553 h 91439"/>
                <a:gd name="connsiteX167" fmla="*/ 898301 w 1254402"/>
                <a:gd name="connsiteY167" fmla="*/ 44432 h 91439"/>
                <a:gd name="connsiteX168" fmla="*/ 898301 w 1254402"/>
                <a:gd name="connsiteY168" fmla="*/ 70190 h 91439"/>
                <a:gd name="connsiteX169" fmla="*/ 883491 w 1254402"/>
                <a:gd name="connsiteY169" fmla="*/ 70190 h 91439"/>
                <a:gd name="connsiteX170" fmla="*/ 883491 w 1254402"/>
                <a:gd name="connsiteY170" fmla="*/ 63750 h 91439"/>
                <a:gd name="connsiteX171" fmla="*/ 852581 w 1254402"/>
                <a:gd name="connsiteY171" fmla="*/ 70834 h 91439"/>
                <a:gd name="connsiteX172" fmla="*/ 829400 w 1254402"/>
                <a:gd name="connsiteY172" fmla="*/ 54735 h 91439"/>
                <a:gd name="connsiteX173" fmla="*/ 860309 w 1254402"/>
                <a:gd name="connsiteY173" fmla="*/ 37349 h 91439"/>
                <a:gd name="connsiteX174" fmla="*/ 883491 w 1254402"/>
                <a:gd name="connsiteY174" fmla="*/ 41212 h 91439"/>
                <a:gd name="connsiteX175" fmla="*/ 864172 w 1254402"/>
                <a:gd name="connsiteY175" fmla="*/ 30909 h 91439"/>
                <a:gd name="connsiteX176" fmla="*/ 839059 w 1254402"/>
                <a:gd name="connsiteY176" fmla="*/ 34773 h 91439"/>
                <a:gd name="connsiteX177" fmla="*/ 833907 w 1254402"/>
                <a:gd name="connsiteY177" fmla="*/ 23826 h 91439"/>
                <a:gd name="connsiteX178" fmla="*/ 864816 w 1254402"/>
                <a:gd name="connsiteY178" fmla="*/ 18674 h 91439"/>
                <a:gd name="connsiteX179" fmla="*/ 898301 w 1254402"/>
                <a:gd name="connsiteY179" fmla="*/ 44432 h 91439"/>
                <a:gd name="connsiteX180" fmla="*/ 883491 w 1254402"/>
                <a:gd name="connsiteY180" fmla="*/ 50228 h 91439"/>
                <a:gd name="connsiteX181" fmla="*/ 862241 w 1254402"/>
                <a:gd name="connsiteY181" fmla="*/ 47008 h 91439"/>
                <a:gd name="connsiteX182" fmla="*/ 844854 w 1254402"/>
                <a:gd name="connsiteY182" fmla="*/ 54091 h 91439"/>
                <a:gd name="connsiteX183" fmla="*/ 857733 w 1254402"/>
                <a:gd name="connsiteY183" fmla="*/ 59887 h 91439"/>
                <a:gd name="connsiteX184" fmla="*/ 884135 w 1254402"/>
                <a:gd name="connsiteY184" fmla="*/ 54091 h 91439"/>
                <a:gd name="connsiteX185" fmla="*/ 884135 w 1254402"/>
                <a:gd name="connsiteY185" fmla="*/ 50228 h 91439"/>
                <a:gd name="connsiteX186" fmla="*/ 925347 w 1254402"/>
                <a:gd name="connsiteY186" fmla="*/ 644 h 91439"/>
                <a:gd name="connsiteX187" fmla="*/ 925347 w 1254402"/>
                <a:gd name="connsiteY187" fmla="*/ 69546 h 91439"/>
                <a:gd name="connsiteX188" fmla="*/ 910536 w 1254402"/>
                <a:gd name="connsiteY188" fmla="*/ 69546 h 91439"/>
                <a:gd name="connsiteX189" fmla="*/ 910536 w 1254402"/>
                <a:gd name="connsiteY189" fmla="*/ 644 h 91439"/>
                <a:gd name="connsiteX190" fmla="*/ 925347 w 1254402"/>
                <a:gd name="connsiteY190" fmla="*/ 644 h 91439"/>
                <a:gd name="connsiteX191" fmla="*/ 1009704 w 1254402"/>
                <a:gd name="connsiteY191" fmla="*/ 19318 h 91439"/>
                <a:gd name="connsiteX192" fmla="*/ 1030954 w 1254402"/>
                <a:gd name="connsiteY192" fmla="*/ 19318 h 91439"/>
                <a:gd name="connsiteX193" fmla="*/ 1030954 w 1254402"/>
                <a:gd name="connsiteY193" fmla="*/ 31553 h 91439"/>
                <a:gd name="connsiteX194" fmla="*/ 1009704 w 1254402"/>
                <a:gd name="connsiteY194" fmla="*/ 31553 h 91439"/>
                <a:gd name="connsiteX195" fmla="*/ 1009704 w 1254402"/>
                <a:gd name="connsiteY195" fmla="*/ 70190 h 91439"/>
                <a:gd name="connsiteX196" fmla="*/ 994893 w 1254402"/>
                <a:gd name="connsiteY196" fmla="*/ 70190 h 91439"/>
                <a:gd name="connsiteX197" fmla="*/ 994893 w 1254402"/>
                <a:gd name="connsiteY197" fmla="*/ 31553 h 91439"/>
                <a:gd name="connsiteX198" fmla="*/ 981370 w 1254402"/>
                <a:gd name="connsiteY198" fmla="*/ 31553 h 91439"/>
                <a:gd name="connsiteX199" fmla="*/ 981370 w 1254402"/>
                <a:gd name="connsiteY199" fmla="*/ 19318 h 91439"/>
                <a:gd name="connsiteX200" fmla="*/ 994893 w 1254402"/>
                <a:gd name="connsiteY200" fmla="*/ 19318 h 91439"/>
                <a:gd name="connsiteX201" fmla="*/ 994893 w 1254402"/>
                <a:gd name="connsiteY201" fmla="*/ 15455 h 91439"/>
                <a:gd name="connsiteX202" fmla="*/ 1016143 w 1254402"/>
                <a:gd name="connsiteY202" fmla="*/ 0 h 91439"/>
                <a:gd name="connsiteX203" fmla="*/ 1031598 w 1254402"/>
                <a:gd name="connsiteY203" fmla="*/ 644 h 91439"/>
                <a:gd name="connsiteX204" fmla="*/ 1031598 w 1254402"/>
                <a:gd name="connsiteY204" fmla="*/ 10947 h 91439"/>
                <a:gd name="connsiteX205" fmla="*/ 1021295 w 1254402"/>
                <a:gd name="connsiteY205" fmla="*/ 10303 h 91439"/>
                <a:gd name="connsiteX206" fmla="*/ 1009704 w 1254402"/>
                <a:gd name="connsiteY206" fmla="*/ 19318 h 91439"/>
                <a:gd name="connsiteX207" fmla="*/ 1056712 w 1254402"/>
                <a:gd name="connsiteY207" fmla="*/ 644 h 91439"/>
                <a:gd name="connsiteX208" fmla="*/ 1056712 w 1254402"/>
                <a:gd name="connsiteY208" fmla="*/ 69546 h 91439"/>
                <a:gd name="connsiteX209" fmla="*/ 1041901 w 1254402"/>
                <a:gd name="connsiteY209" fmla="*/ 69546 h 91439"/>
                <a:gd name="connsiteX210" fmla="*/ 1041901 w 1254402"/>
                <a:gd name="connsiteY210" fmla="*/ 644 h 91439"/>
                <a:gd name="connsiteX211" fmla="*/ 1056712 w 1254402"/>
                <a:gd name="connsiteY211" fmla="*/ 644 h 91439"/>
                <a:gd name="connsiteX212" fmla="*/ 1067659 w 1254402"/>
                <a:gd name="connsiteY212" fmla="*/ 44432 h 91439"/>
                <a:gd name="connsiteX213" fmla="*/ 1103076 w 1254402"/>
                <a:gd name="connsiteY213" fmla="*/ 18030 h 91439"/>
                <a:gd name="connsiteX214" fmla="*/ 1138493 w 1254402"/>
                <a:gd name="connsiteY214" fmla="*/ 44432 h 91439"/>
                <a:gd name="connsiteX215" fmla="*/ 1103076 w 1254402"/>
                <a:gd name="connsiteY215" fmla="*/ 70834 h 91439"/>
                <a:gd name="connsiteX216" fmla="*/ 1067659 w 1254402"/>
                <a:gd name="connsiteY216" fmla="*/ 44432 h 91439"/>
                <a:gd name="connsiteX217" fmla="*/ 1123038 w 1254402"/>
                <a:gd name="connsiteY217" fmla="*/ 44432 h 91439"/>
                <a:gd name="connsiteX218" fmla="*/ 1102432 w 1254402"/>
                <a:gd name="connsiteY218" fmla="*/ 30265 h 91439"/>
                <a:gd name="connsiteX219" fmla="*/ 1081825 w 1254402"/>
                <a:gd name="connsiteY219" fmla="*/ 44432 h 91439"/>
                <a:gd name="connsiteX220" fmla="*/ 1102432 w 1254402"/>
                <a:gd name="connsiteY220" fmla="*/ 58599 h 91439"/>
                <a:gd name="connsiteX221" fmla="*/ 1123038 w 1254402"/>
                <a:gd name="connsiteY221" fmla="*/ 44432 h 91439"/>
                <a:gd name="connsiteX222" fmla="*/ 1254402 w 1254402"/>
                <a:gd name="connsiteY222" fmla="*/ 19318 h 91439"/>
                <a:gd name="connsiteX223" fmla="*/ 1231864 w 1254402"/>
                <a:gd name="connsiteY223" fmla="*/ 70190 h 91439"/>
                <a:gd name="connsiteX224" fmla="*/ 1211902 w 1254402"/>
                <a:gd name="connsiteY224" fmla="*/ 70190 h 91439"/>
                <a:gd name="connsiteX225" fmla="*/ 1197091 w 1254402"/>
                <a:gd name="connsiteY225" fmla="*/ 34773 h 91439"/>
                <a:gd name="connsiteX226" fmla="*/ 1182281 w 1254402"/>
                <a:gd name="connsiteY226" fmla="*/ 70190 h 91439"/>
                <a:gd name="connsiteX227" fmla="*/ 1162318 w 1254402"/>
                <a:gd name="connsiteY227" fmla="*/ 70190 h 91439"/>
                <a:gd name="connsiteX228" fmla="*/ 1139780 w 1254402"/>
                <a:gd name="connsiteY228" fmla="*/ 19318 h 91439"/>
                <a:gd name="connsiteX229" fmla="*/ 1156523 w 1254402"/>
                <a:gd name="connsiteY229" fmla="*/ 19318 h 91439"/>
                <a:gd name="connsiteX230" fmla="*/ 1173265 w 1254402"/>
                <a:gd name="connsiteY230" fmla="*/ 58599 h 91439"/>
                <a:gd name="connsiteX231" fmla="*/ 1188720 w 1254402"/>
                <a:gd name="connsiteY231" fmla="*/ 19318 h 91439"/>
                <a:gd name="connsiteX232" fmla="*/ 1206107 w 1254402"/>
                <a:gd name="connsiteY232" fmla="*/ 19318 h 91439"/>
                <a:gd name="connsiteX233" fmla="*/ 1221561 w 1254402"/>
                <a:gd name="connsiteY233" fmla="*/ 57955 h 91439"/>
                <a:gd name="connsiteX234" fmla="*/ 1238304 w 1254402"/>
                <a:gd name="connsiteY234" fmla="*/ 18674 h 91439"/>
                <a:gd name="connsiteX235" fmla="*/ 1254402 w 1254402"/>
                <a:gd name="connsiteY235" fmla="*/ 18674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1254402" h="91439">
                  <a:moveTo>
                    <a:pt x="70834" y="31553"/>
                  </a:moveTo>
                  <a:cubicBezTo>
                    <a:pt x="70834" y="45076"/>
                    <a:pt x="61175" y="53447"/>
                    <a:pt x="47652" y="53447"/>
                  </a:cubicBezTo>
                  <a:lnTo>
                    <a:pt x="15455" y="53447"/>
                  </a:lnTo>
                  <a:lnTo>
                    <a:pt x="15455" y="69546"/>
                  </a:lnTo>
                  <a:lnTo>
                    <a:pt x="0" y="69546"/>
                  </a:lnTo>
                  <a:lnTo>
                    <a:pt x="0" y="9015"/>
                  </a:lnTo>
                  <a:lnTo>
                    <a:pt x="47652" y="9015"/>
                  </a:lnTo>
                  <a:cubicBezTo>
                    <a:pt x="61175" y="9659"/>
                    <a:pt x="70834" y="18030"/>
                    <a:pt x="70834" y="31553"/>
                  </a:cubicBezTo>
                  <a:close/>
                  <a:moveTo>
                    <a:pt x="55379" y="31553"/>
                  </a:moveTo>
                  <a:cubicBezTo>
                    <a:pt x="55379" y="22538"/>
                    <a:pt x="48296" y="22538"/>
                    <a:pt x="43788" y="22538"/>
                  </a:cubicBezTo>
                  <a:lnTo>
                    <a:pt x="16099" y="22538"/>
                  </a:lnTo>
                  <a:lnTo>
                    <a:pt x="16099" y="40568"/>
                  </a:lnTo>
                  <a:lnTo>
                    <a:pt x="43144" y="40568"/>
                  </a:lnTo>
                  <a:cubicBezTo>
                    <a:pt x="48296" y="40568"/>
                    <a:pt x="55379" y="40568"/>
                    <a:pt x="55379" y="31553"/>
                  </a:cubicBezTo>
                  <a:close/>
                  <a:moveTo>
                    <a:pt x="79849" y="44432"/>
                  </a:moveTo>
                  <a:cubicBezTo>
                    <a:pt x="79849" y="25758"/>
                    <a:pt x="94016" y="18030"/>
                    <a:pt x="115266" y="18030"/>
                  </a:cubicBezTo>
                  <a:cubicBezTo>
                    <a:pt x="136516" y="18030"/>
                    <a:pt x="150683" y="25758"/>
                    <a:pt x="150683" y="44432"/>
                  </a:cubicBezTo>
                  <a:cubicBezTo>
                    <a:pt x="150683" y="63106"/>
                    <a:pt x="136516" y="70834"/>
                    <a:pt x="115266" y="70834"/>
                  </a:cubicBezTo>
                  <a:cubicBezTo>
                    <a:pt x="94016" y="70834"/>
                    <a:pt x="79849" y="63106"/>
                    <a:pt x="79849" y="44432"/>
                  </a:cubicBezTo>
                  <a:close/>
                  <a:moveTo>
                    <a:pt x="135228" y="44432"/>
                  </a:moveTo>
                  <a:cubicBezTo>
                    <a:pt x="135228" y="34129"/>
                    <a:pt x="128789" y="30265"/>
                    <a:pt x="114622" y="30265"/>
                  </a:cubicBezTo>
                  <a:cubicBezTo>
                    <a:pt x="101099" y="30265"/>
                    <a:pt x="94016" y="33485"/>
                    <a:pt x="94016" y="44432"/>
                  </a:cubicBezTo>
                  <a:cubicBezTo>
                    <a:pt x="94016" y="54735"/>
                    <a:pt x="100455" y="58599"/>
                    <a:pt x="114622" y="58599"/>
                  </a:cubicBezTo>
                  <a:cubicBezTo>
                    <a:pt x="128789" y="58599"/>
                    <a:pt x="135228" y="54735"/>
                    <a:pt x="135228" y="44432"/>
                  </a:cubicBezTo>
                  <a:close/>
                  <a:moveTo>
                    <a:pt x="173221" y="52159"/>
                  </a:moveTo>
                  <a:cubicBezTo>
                    <a:pt x="173221" y="57311"/>
                    <a:pt x="179016" y="59887"/>
                    <a:pt x="195115" y="59887"/>
                  </a:cubicBezTo>
                  <a:cubicBezTo>
                    <a:pt x="211214" y="59887"/>
                    <a:pt x="213789" y="58599"/>
                    <a:pt x="213789" y="54735"/>
                  </a:cubicBezTo>
                  <a:cubicBezTo>
                    <a:pt x="213789" y="50872"/>
                    <a:pt x="211214" y="50872"/>
                    <a:pt x="193827" y="49584"/>
                  </a:cubicBezTo>
                  <a:cubicBezTo>
                    <a:pt x="171289" y="48296"/>
                    <a:pt x="160342" y="46364"/>
                    <a:pt x="160342" y="34129"/>
                  </a:cubicBezTo>
                  <a:cubicBezTo>
                    <a:pt x="160342" y="20606"/>
                    <a:pt x="175797" y="18674"/>
                    <a:pt x="193827" y="18674"/>
                  </a:cubicBezTo>
                  <a:cubicBezTo>
                    <a:pt x="213145" y="18674"/>
                    <a:pt x="226668" y="21250"/>
                    <a:pt x="226668" y="35417"/>
                  </a:cubicBezTo>
                  <a:lnTo>
                    <a:pt x="211857" y="35417"/>
                  </a:lnTo>
                  <a:cubicBezTo>
                    <a:pt x="211857" y="30909"/>
                    <a:pt x="206706" y="30265"/>
                    <a:pt x="192539" y="30265"/>
                  </a:cubicBezTo>
                  <a:cubicBezTo>
                    <a:pt x="178372" y="30265"/>
                    <a:pt x="174509" y="31553"/>
                    <a:pt x="174509" y="34129"/>
                  </a:cubicBezTo>
                  <a:cubicBezTo>
                    <a:pt x="174509" y="37349"/>
                    <a:pt x="177085" y="37993"/>
                    <a:pt x="194471" y="39281"/>
                  </a:cubicBezTo>
                  <a:cubicBezTo>
                    <a:pt x="214433" y="40568"/>
                    <a:pt x="227956" y="41212"/>
                    <a:pt x="227956" y="54735"/>
                  </a:cubicBezTo>
                  <a:cubicBezTo>
                    <a:pt x="227956" y="68902"/>
                    <a:pt x="215077" y="71478"/>
                    <a:pt x="195759" y="71478"/>
                  </a:cubicBezTo>
                  <a:cubicBezTo>
                    <a:pt x="176441" y="71478"/>
                    <a:pt x="158410" y="68902"/>
                    <a:pt x="158410" y="52803"/>
                  </a:cubicBezTo>
                  <a:lnTo>
                    <a:pt x="173221" y="52803"/>
                  </a:lnTo>
                  <a:close/>
                  <a:moveTo>
                    <a:pt x="254358" y="644"/>
                  </a:moveTo>
                  <a:lnTo>
                    <a:pt x="254358" y="13523"/>
                  </a:lnTo>
                  <a:lnTo>
                    <a:pt x="239547" y="13523"/>
                  </a:lnTo>
                  <a:lnTo>
                    <a:pt x="239547" y="644"/>
                  </a:lnTo>
                  <a:lnTo>
                    <a:pt x="254358" y="644"/>
                  </a:lnTo>
                  <a:close/>
                  <a:moveTo>
                    <a:pt x="254358" y="19318"/>
                  </a:moveTo>
                  <a:lnTo>
                    <a:pt x="254358" y="70190"/>
                  </a:lnTo>
                  <a:lnTo>
                    <a:pt x="239547" y="70190"/>
                  </a:lnTo>
                  <a:lnTo>
                    <a:pt x="239547" y="19318"/>
                  </a:lnTo>
                  <a:lnTo>
                    <a:pt x="254358" y="19318"/>
                  </a:lnTo>
                  <a:close/>
                  <a:moveTo>
                    <a:pt x="292994" y="31553"/>
                  </a:moveTo>
                  <a:lnTo>
                    <a:pt x="292994" y="46364"/>
                  </a:lnTo>
                  <a:cubicBezTo>
                    <a:pt x="292994" y="56023"/>
                    <a:pt x="294926" y="58599"/>
                    <a:pt x="303941" y="58599"/>
                  </a:cubicBezTo>
                  <a:cubicBezTo>
                    <a:pt x="308449" y="58599"/>
                    <a:pt x="311025" y="58599"/>
                    <a:pt x="316820" y="57955"/>
                  </a:cubicBezTo>
                  <a:lnTo>
                    <a:pt x="316820" y="69546"/>
                  </a:lnTo>
                  <a:cubicBezTo>
                    <a:pt x="311669" y="70190"/>
                    <a:pt x="306517" y="70834"/>
                    <a:pt x="299434" y="70834"/>
                  </a:cubicBezTo>
                  <a:cubicBezTo>
                    <a:pt x="286555" y="70834"/>
                    <a:pt x="278184" y="65682"/>
                    <a:pt x="278184" y="54735"/>
                  </a:cubicBezTo>
                  <a:lnTo>
                    <a:pt x="278184" y="31553"/>
                  </a:lnTo>
                  <a:lnTo>
                    <a:pt x="264661" y="31553"/>
                  </a:lnTo>
                  <a:lnTo>
                    <a:pt x="264661" y="19318"/>
                  </a:lnTo>
                  <a:lnTo>
                    <a:pt x="278184" y="19318"/>
                  </a:lnTo>
                  <a:lnTo>
                    <a:pt x="278184" y="9015"/>
                  </a:lnTo>
                  <a:lnTo>
                    <a:pt x="292994" y="4508"/>
                  </a:lnTo>
                  <a:lnTo>
                    <a:pt x="292994" y="19318"/>
                  </a:lnTo>
                  <a:lnTo>
                    <a:pt x="316820" y="19318"/>
                  </a:lnTo>
                  <a:lnTo>
                    <a:pt x="316820" y="31553"/>
                  </a:lnTo>
                  <a:lnTo>
                    <a:pt x="292994" y="31553"/>
                  </a:lnTo>
                  <a:close/>
                  <a:moveTo>
                    <a:pt x="342578" y="644"/>
                  </a:moveTo>
                  <a:lnTo>
                    <a:pt x="342578" y="13523"/>
                  </a:lnTo>
                  <a:lnTo>
                    <a:pt x="327767" y="13523"/>
                  </a:lnTo>
                  <a:lnTo>
                    <a:pt x="327767" y="644"/>
                  </a:lnTo>
                  <a:lnTo>
                    <a:pt x="342578" y="644"/>
                  </a:lnTo>
                  <a:close/>
                  <a:moveTo>
                    <a:pt x="342578" y="19318"/>
                  </a:moveTo>
                  <a:lnTo>
                    <a:pt x="342578" y="70190"/>
                  </a:lnTo>
                  <a:lnTo>
                    <a:pt x="327767" y="70190"/>
                  </a:lnTo>
                  <a:lnTo>
                    <a:pt x="327767" y="19318"/>
                  </a:lnTo>
                  <a:lnTo>
                    <a:pt x="342578" y="19318"/>
                  </a:lnTo>
                  <a:close/>
                  <a:moveTo>
                    <a:pt x="424359" y="19318"/>
                  </a:moveTo>
                  <a:lnTo>
                    <a:pt x="398601" y="70190"/>
                  </a:lnTo>
                  <a:lnTo>
                    <a:pt x="377995" y="70190"/>
                  </a:lnTo>
                  <a:lnTo>
                    <a:pt x="352237" y="19318"/>
                  </a:lnTo>
                  <a:lnTo>
                    <a:pt x="368336" y="19318"/>
                  </a:lnTo>
                  <a:lnTo>
                    <a:pt x="388298" y="59887"/>
                  </a:lnTo>
                  <a:lnTo>
                    <a:pt x="408260" y="19318"/>
                  </a:lnTo>
                  <a:lnTo>
                    <a:pt x="424359" y="19318"/>
                  </a:lnTo>
                  <a:close/>
                  <a:moveTo>
                    <a:pt x="481670" y="51515"/>
                  </a:moveTo>
                  <a:lnTo>
                    <a:pt x="496481" y="51515"/>
                  </a:lnTo>
                  <a:cubicBezTo>
                    <a:pt x="493261" y="64394"/>
                    <a:pt x="480382" y="70834"/>
                    <a:pt x="461708" y="70834"/>
                  </a:cubicBezTo>
                  <a:cubicBezTo>
                    <a:pt x="442389" y="70834"/>
                    <a:pt x="427579" y="63106"/>
                    <a:pt x="427579" y="44432"/>
                  </a:cubicBezTo>
                  <a:cubicBezTo>
                    <a:pt x="427579" y="25758"/>
                    <a:pt x="442389" y="18030"/>
                    <a:pt x="462995" y="18030"/>
                  </a:cubicBezTo>
                  <a:cubicBezTo>
                    <a:pt x="482314" y="18030"/>
                    <a:pt x="497768" y="24470"/>
                    <a:pt x="497768" y="47652"/>
                  </a:cubicBezTo>
                  <a:lnTo>
                    <a:pt x="442389" y="47652"/>
                  </a:lnTo>
                  <a:cubicBezTo>
                    <a:pt x="444321" y="56023"/>
                    <a:pt x="452048" y="58599"/>
                    <a:pt x="461708" y="58599"/>
                  </a:cubicBezTo>
                  <a:cubicBezTo>
                    <a:pt x="471367" y="58599"/>
                    <a:pt x="477806" y="56667"/>
                    <a:pt x="481670" y="51515"/>
                  </a:cubicBezTo>
                  <a:close/>
                  <a:moveTo>
                    <a:pt x="442389" y="38637"/>
                  </a:moveTo>
                  <a:lnTo>
                    <a:pt x="481026" y="38637"/>
                  </a:lnTo>
                  <a:cubicBezTo>
                    <a:pt x="478450" y="31553"/>
                    <a:pt x="471367" y="29621"/>
                    <a:pt x="461708" y="29621"/>
                  </a:cubicBezTo>
                  <a:cubicBezTo>
                    <a:pt x="452048" y="29621"/>
                    <a:pt x="444965" y="31553"/>
                    <a:pt x="442389" y="38637"/>
                  </a:cubicBezTo>
                  <a:close/>
                  <a:moveTo>
                    <a:pt x="622694" y="644"/>
                  </a:moveTo>
                  <a:lnTo>
                    <a:pt x="622694" y="69546"/>
                  </a:lnTo>
                  <a:lnTo>
                    <a:pt x="607883" y="69546"/>
                  </a:lnTo>
                  <a:lnTo>
                    <a:pt x="607883" y="61819"/>
                  </a:lnTo>
                  <a:cubicBezTo>
                    <a:pt x="602087" y="67614"/>
                    <a:pt x="593716" y="70834"/>
                    <a:pt x="582769" y="70834"/>
                  </a:cubicBezTo>
                  <a:cubicBezTo>
                    <a:pt x="566670" y="70834"/>
                    <a:pt x="552504" y="63750"/>
                    <a:pt x="552504" y="44432"/>
                  </a:cubicBezTo>
                  <a:cubicBezTo>
                    <a:pt x="552504" y="25114"/>
                    <a:pt x="566670" y="18030"/>
                    <a:pt x="582769" y="18030"/>
                  </a:cubicBezTo>
                  <a:cubicBezTo>
                    <a:pt x="593716" y="18030"/>
                    <a:pt x="602731" y="21250"/>
                    <a:pt x="607883" y="27046"/>
                  </a:cubicBezTo>
                  <a:lnTo>
                    <a:pt x="607883" y="644"/>
                  </a:lnTo>
                  <a:lnTo>
                    <a:pt x="622694" y="644"/>
                  </a:lnTo>
                  <a:close/>
                  <a:moveTo>
                    <a:pt x="607883" y="44432"/>
                  </a:moveTo>
                  <a:cubicBezTo>
                    <a:pt x="607883" y="34129"/>
                    <a:pt x="600800" y="30265"/>
                    <a:pt x="587277" y="30265"/>
                  </a:cubicBezTo>
                  <a:cubicBezTo>
                    <a:pt x="574398" y="30265"/>
                    <a:pt x="566670" y="34129"/>
                    <a:pt x="566670" y="44432"/>
                  </a:cubicBezTo>
                  <a:cubicBezTo>
                    <a:pt x="566670" y="54735"/>
                    <a:pt x="573754" y="58599"/>
                    <a:pt x="587277" y="58599"/>
                  </a:cubicBezTo>
                  <a:cubicBezTo>
                    <a:pt x="600800" y="58599"/>
                    <a:pt x="607883" y="54735"/>
                    <a:pt x="607883" y="44432"/>
                  </a:cubicBezTo>
                  <a:close/>
                  <a:moveTo>
                    <a:pt x="649739" y="644"/>
                  </a:moveTo>
                  <a:lnTo>
                    <a:pt x="649739" y="13523"/>
                  </a:lnTo>
                  <a:lnTo>
                    <a:pt x="634928" y="13523"/>
                  </a:lnTo>
                  <a:lnTo>
                    <a:pt x="634928" y="644"/>
                  </a:lnTo>
                  <a:lnTo>
                    <a:pt x="649739" y="644"/>
                  </a:lnTo>
                  <a:close/>
                  <a:moveTo>
                    <a:pt x="649739" y="19318"/>
                  </a:moveTo>
                  <a:lnTo>
                    <a:pt x="649739" y="70190"/>
                  </a:lnTo>
                  <a:lnTo>
                    <a:pt x="634928" y="70190"/>
                  </a:lnTo>
                  <a:lnTo>
                    <a:pt x="634928" y="19318"/>
                  </a:lnTo>
                  <a:lnTo>
                    <a:pt x="649739" y="19318"/>
                  </a:lnTo>
                  <a:close/>
                  <a:moveTo>
                    <a:pt x="730876" y="19318"/>
                  </a:moveTo>
                  <a:lnTo>
                    <a:pt x="730876" y="61819"/>
                  </a:lnTo>
                  <a:cubicBezTo>
                    <a:pt x="730876" y="82425"/>
                    <a:pt x="716709" y="91440"/>
                    <a:pt x="698035" y="91440"/>
                  </a:cubicBezTo>
                  <a:cubicBezTo>
                    <a:pt x="683224" y="91440"/>
                    <a:pt x="670989" y="88864"/>
                    <a:pt x="666482" y="87576"/>
                  </a:cubicBezTo>
                  <a:lnTo>
                    <a:pt x="666482" y="75985"/>
                  </a:lnTo>
                  <a:cubicBezTo>
                    <a:pt x="672277" y="77273"/>
                    <a:pt x="683868" y="79849"/>
                    <a:pt x="694815" y="79849"/>
                  </a:cubicBezTo>
                  <a:cubicBezTo>
                    <a:pt x="710270" y="79849"/>
                    <a:pt x="716065" y="74053"/>
                    <a:pt x="716065" y="61175"/>
                  </a:cubicBezTo>
                  <a:cubicBezTo>
                    <a:pt x="710914" y="66970"/>
                    <a:pt x="702543" y="70190"/>
                    <a:pt x="690308" y="70190"/>
                  </a:cubicBezTo>
                  <a:cubicBezTo>
                    <a:pt x="672921" y="70190"/>
                    <a:pt x="660686" y="62463"/>
                    <a:pt x="660686" y="44432"/>
                  </a:cubicBezTo>
                  <a:cubicBezTo>
                    <a:pt x="660686" y="26402"/>
                    <a:pt x="672921" y="18674"/>
                    <a:pt x="690308" y="18674"/>
                  </a:cubicBezTo>
                  <a:cubicBezTo>
                    <a:pt x="702543" y="18674"/>
                    <a:pt x="710914" y="21894"/>
                    <a:pt x="716065" y="27690"/>
                  </a:cubicBezTo>
                  <a:lnTo>
                    <a:pt x="716065" y="19318"/>
                  </a:lnTo>
                  <a:lnTo>
                    <a:pt x="730876" y="19318"/>
                  </a:lnTo>
                  <a:close/>
                  <a:moveTo>
                    <a:pt x="715421" y="43788"/>
                  </a:moveTo>
                  <a:cubicBezTo>
                    <a:pt x="715421" y="34773"/>
                    <a:pt x="708982" y="30909"/>
                    <a:pt x="694815" y="30909"/>
                  </a:cubicBezTo>
                  <a:cubicBezTo>
                    <a:pt x="680648" y="30909"/>
                    <a:pt x="674209" y="34773"/>
                    <a:pt x="674209" y="43788"/>
                  </a:cubicBezTo>
                  <a:cubicBezTo>
                    <a:pt x="674209" y="52803"/>
                    <a:pt x="680648" y="56667"/>
                    <a:pt x="694815" y="56667"/>
                  </a:cubicBezTo>
                  <a:cubicBezTo>
                    <a:pt x="708982" y="56667"/>
                    <a:pt x="715421" y="52803"/>
                    <a:pt x="715421" y="43788"/>
                  </a:cubicBezTo>
                  <a:close/>
                  <a:moveTo>
                    <a:pt x="757278" y="644"/>
                  </a:moveTo>
                  <a:lnTo>
                    <a:pt x="757278" y="13523"/>
                  </a:lnTo>
                  <a:lnTo>
                    <a:pt x="742467" y="13523"/>
                  </a:lnTo>
                  <a:lnTo>
                    <a:pt x="742467" y="644"/>
                  </a:lnTo>
                  <a:lnTo>
                    <a:pt x="757278" y="644"/>
                  </a:lnTo>
                  <a:close/>
                  <a:moveTo>
                    <a:pt x="757278" y="19318"/>
                  </a:moveTo>
                  <a:lnTo>
                    <a:pt x="757278" y="70190"/>
                  </a:lnTo>
                  <a:lnTo>
                    <a:pt x="742467" y="70190"/>
                  </a:lnTo>
                  <a:lnTo>
                    <a:pt x="742467" y="19318"/>
                  </a:lnTo>
                  <a:lnTo>
                    <a:pt x="757278" y="19318"/>
                  </a:lnTo>
                  <a:close/>
                  <a:moveTo>
                    <a:pt x="795914" y="31553"/>
                  </a:moveTo>
                  <a:lnTo>
                    <a:pt x="795914" y="46364"/>
                  </a:lnTo>
                  <a:cubicBezTo>
                    <a:pt x="795914" y="56023"/>
                    <a:pt x="797846" y="58599"/>
                    <a:pt x="806861" y="58599"/>
                  </a:cubicBezTo>
                  <a:cubicBezTo>
                    <a:pt x="811369" y="58599"/>
                    <a:pt x="813945" y="58599"/>
                    <a:pt x="819740" y="57955"/>
                  </a:cubicBezTo>
                  <a:lnTo>
                    <a:pt x="819740" y="69546"/>
                  </a:lnTo>
                  <a:cubicBezTo>
                    <a:pt x="814589" y="70190"/>
                    <a:pt x="809437" y="70834"/>
                    <a:pt x="802354" y="70834"/>
                  </a:cubicBezTo>
                  <a:cubicBezTo>
                    <a:pt x="789475" y="70834"/>
                    <a:pt x="781104" y="65682"/>
                    <a:pt x="781104" y="54735"/>
                  </a:cubicBezTo>
                  <a:lnTo>
                    <a:pt x="781104" y="31553"/>
                  </a:lnTo>
                  <a:lnTo>
                    <a:pt x="767581" y="31553"/>
                  </a:lnTo>
                  <a:lnTo>
                    <a:pt x="767581" y="19318"/>
                  </a:lnTo>
                  <a:lnTo>
                    <a:pt x="781104" y="19318"/>
                  </a:lnTo>
                  <a:lnTo>
                    <a:pt x="781104" y="9015"/>
                  </a:lnTo>
                  <a:lnTo>
                    <a:pt x="795914" y="4508"/>
                  </a:lnTo>
                  <a:lnTo>
                    <a:pt x="795914" y="19318"/>
                  </a:lnTo>
                  <a:lnTo>
                    <a:pt x="819740" y="19318"/>
                  </a:lnTo>
                  <a:lnTo>
                    <a:pt x="819740" y="31553"/>
                  </a:lnTo>
                  <a:lnTo>
                    <a:pt x="795914" y="31553"/>
                  </a:lnTo>
                  <a:close/>
                  <a:moveTo>
                    <a:pt x="898301" y="44432"/>
                  </a:moveTo>
                  <a:lnTo>
                    <a:pt x="898301" y="70190"/>
                  </a:lnTo>
                  <a:lnTo>
                    <a:pt x="883491" y="70190"/>
                  </a:lnTo>
                  <a:lnTo>
                    <a:pt x="883491" y="63750"/>
                  </a:lnTo>
                  <a:cubicBezTo>
                    <a:pt x="874476" y="68258"/>
                    <a:pt x="864816" y="70834"/>
                    <a:pt x="852581" y="70834"/>
                  </a:cubicBezTo>
                  <a:cubicBezTo>
                    <a:pt x="838415" y="70834"/>
                    <a:pt x="829400" y="66326"/>
                    <a:pt x="829400" y="54735"/>
                  </a:cubicBezTo>
                  <a:cubicBezTo>
                    <a:pt x="829400" y="41856"/>
                    <a:pt x="843566" y="37349"/>
                    <a:pt x="860309" y="37349"/>
                  </a:cubicBezTo>
                  <a:cubicBezTo>
                    <a:pt x="869324" y="37349"/>
                    <a:pt x="877051" y="38637"/>
                    <a:pt x="883491" y="41212"/>
                  </a:cubicBezTo>
                  <a:cubicBezTo>
                    <a:pt x="883491" y="31553"/>
                    <a:pt x="871256" y="30909"/>
                    <a:pt x="864172" y="30909"/>
                  </a:cubicBezTo>
                  <a:cubicBezTo>
                    <a:pt x="857733" y="30909"/>
                    <a:pt x="849362" y="31553"/>
                    <a:pt x="839059" y="34773"/>
                  </a:cubicBezTo>
                  <a:lnTo>
                    <a:pt x="833907" y="23826"/>
                  </a:lnTo>
                  <a:cubicBezTo>
                    <a:pt x="844210" y="20606"/>
                    <a:pt x="854513" y="18674"/>
                    <a:pt x="864816" y="18674"/>
                  </a:cubicBezTo>
                  <a:cubicBezTo>
                    <a:pt x="886066" y="18030"/>
                    <a:pt x="898301" y="25114"/>
                    <a:pt x="898301" y="44432"/>
                  </a:cubicBezTo>
                  <a:close/>
                  <a:moveTo>
                    <a:pt x="883491" y="50228"/>
                  </a:moveTo>
                  <a:cubicBezTo>
                    <a:pt x="878339" y="48296"/>
                    <a:pt x="871256" y="47008"/>
                    <a:pt x="862241" y="47008"/>
                  </a:cubicBezTo>
                  <a:cubicBezTo>
                    <a:pt x="851294" y="47008"/>
                    <a:pt x="844854" y="48940"/>
                    <a:pt x="844854" y="54091"/>
                  </a:cubicBezTo>
                  <a:cubicBezTo>
                    <a:pt x="844854" y="59243"/>
                    <a:pt x="850006" y="59887"/>
                    <a:pt x="857733" y="59887"/>
                  </a:cubicBezTo>
                  <a:cubicBezTo>
                    <a:pt x="865460" y="59887"/>
                    <a:pt x="877051" y="57311"/>
                    <a:pt x="884135" y="54091"/>
                  </a:cubicBezTo>
                  <a:lnTo>
                    <a:pt x="884135" y="50228"/>
                  </a:lnTo>
                  <a:close/>
                  <a:moveTo>
                    <a:pt x="925347" y="644"/>
                  </a:moveTo>
                  <a:lnTo>
                    <a:pt x="925347" y="69546"/>
                  </a:lnTo>
                  <a:lnTo>
                    <a:pt x="910536" y="69546"/>
                  </a:lnTo>
                  <a:lnTo>
                    <a:pt x="910536" y="644"/>
                  </a:lnTo>
                  <a:lnTo>
                    <a:pt x="925347" y="644"/>
                  </a:lnTo>
                  <a:close/>
                  <a:moveTo>
                    <a:pt x="1009704" y="19318"/>
                  </a:moveTo>
                  <a:lnTo>
                    <a:pt x="1030954" y="19318"/>
                  </a:lnTo>
                  <a:lnTo>
                    <a:pt x="1030954" y="31553"/>
                  </a:lnTo>
                  <a:lnTo>
                    <a:pt x="1009704" y="31553"/>
                  </a:lnTo>
                  <a:lnTo>
                    <a:pt x="1009704" y="70190"/>
                  </a:lnTo>
                  <a:lnTo>
                    <a:pt x="994893" y="70190"/>
                  </a:lnTo>
                  <a:lnTo>
                    <a:pt x="994893" y="31553"/>
                  </a:lnTo>
                  <a:lnTo>
                    <a:pt x="981370" y="31553"/>
                  </a:lnTo>
                  <a:lnTo>
                    <a:pt x="981370" y="19318"/>
                  </a:lnTo>
                  <a:lnTo>
                    <a:pt x="994893" y="19318"/>
                  </a:lnTo>
                  <a:lnTo>
                    <a:pt x="994893" y="15455"/>
                  </a:lnTo>
                  <a:cubicBezTo>
                    <a:pt x="994893" y="5152"/>
                    <a:pt x="1001332" y="0"/>
                    <a:pt x="1016143" y="0"/>
                  </a:cubicBezTo>
                  <a:cubicBezTo>
                    <a:pt x="1021295" y="0"/>
                    <a:pt x="1023870" y="0"/>
                    <a:pt x="1031598" y="644"/>
                  </a:cubicBezTo>
                  <a:lnTo>
                    <a:pt x="1031598" y="10947"/>
                  </a:lnTo>
                  <a:cubicBezTo>
                    <a:pt x="1028378" y="10947"/>
                    <a:pt x="1024514" y="10303"/>
                    <a:pt x="1021295" y="10303"/>
                  </a:cubicBezTo>
                  <a:cubicBezTo>
                    <a:pt x="1012279" y="10947"/>
                    <a:pt x="1009704" y="12879"/>
                    <a:pt x="1009704" y="19318"/>
                  </a:cubicBezTo>
                  <a:close/>
                  <a:moveTo>
                    <a:pt x="1056712" y="644"/>
                  </a:moveTo>
                  <a:lnTo>
                    <a:pt x="1056712" y="69546"/>
                  </a:lnTo>
                  <a:lnTo>
                    <a:pt x="1041901" y="69546"/>
                  </a:lnTo>
                  <a:lnTo>
                    <a:pt x="1041901" y="644"/>
                  </a:lnTo>
                  <a:lnTo>
                    <a:pt x="1056712" y="644"/>
                  </a:lnTo>
                  <a:close/>
                  <a:moveTo>
                    <a:pt x="1067659" y="44432"/>
                  </a:moveTo>
                  <a:cubicBezTo>
                    <a:pt x="1067659" y="25758"/>
                    <a:pt x="1081825" y="18030"/>
                    <a:pt x="1103076" y="18030"/>
                  </a:cubicBezTo>
                  <a:cubicBezTo>
                    <a:pt x="1124326" y="18030"/>
                    <a:pt x="1138493" y="25758"/>
                    <a:pt x="1138493" y="44432"/>
                  </a:cubicBezTo>
                  <a:cubicBezTo>
                    <a:pt x="1138493" y="63106"/>
                    <a:pt x="1124326" y="70834"/>
                    <a:pt x="1103076" y="70834"/>
                  </a:cubicBezTo>
                  <a:cubicBezTo>
                    <a:pt x="1081825" y="70834"/>
                    <a:pt x="1067659" y="63106"/>
                    <a:pt x="1067659" y="44432"/>
                  </a:cubicBezTo>
                  <a:close/>
                  <a:moveTo>
                    <a:pt x="1123038" y="44432"/>
                  </a:moveTo>
                  <a:cubicBezTo>
                    <a:pt x="1123038" y="34129"/>
                    <a:pt x="1116598" y="30265"/>
                    <a:pt x="1102432" y="30265"/>
                  </a:cubicBezTo>
                  <a:cubicBezTo>
                    <a:pt x="1088909" y="30265"/>
                    <a:pt x="1081825" y="33485"/>
                    <a:pt x="1081825" y="44432"/>
                  </a:cubicBezTo>
                  <a:cubicBezTo>
                    <a:pt x="1081825" y="54735"/>
                    <a:pt x="1088265" y="58599"/>
                    <a:pt x="1102432" y="58599"/>
                  </a:cubicBezTo>
                  <a:cubicBezTo>
                    <a:pt x="1115954" y="58599"/>
                    <a:pt x="1123038" y="54735"/>
                    <a:pt x="1123038" y="44432"/>
                  </a:cubicBezTo>
                  <a:close/>
                  <a:moveTo>
                    <a:pt x="1254402" y="19318"/>
                  </a:moveTo>
                  <a:lnTo>
                    <a:pt x="1231864" y="70190"/>
                  </a:lnTo>
                  <a:lnTo>
                    <a:pt x="1211902" y="70190"/>
                  </a:lnTo>
                  <a:lnTo>
                    <a:pt x="1197091" y="34773"/>
                  </a:lnTo>
                  <a:lnTo>
                    <a:pt x="1182281" y="70190"/>
                  </a:lnTo>
                  <a:lnTo>
                    <a:pt x="1162318" y="70190"/>
                  </a:lnTo>
                  <a:lnTo>
                    <a:pt x="1139780" y="19318"/>
                  </a:lnTo>
                  <a:lnTo>
                    <a:pt x="1156523" y="19318"/>
                  </a:lnTo>
                  <a:lnTo>
                    <a:pt x="1173265" y="58599"/>
                  </a:lnTo>
                  <a:lnTo>
                    <a:pt x="1188720" y="19318"/>
                  </a:lnTo>
                  <a:lnTo>
                    <a:pt x="1206107" y="19318"/>
                  </a:lnTo>
                  <a:lnTo>
                    <a:pt x="1221561" y="57955"/>
                  </a:lnTo>
                  <a:lnTo>
                    <a:pt x="1238304" y="18674"/>
                  </a:lnTo>
                  <a:lnTo>
                    <a:pt x="1254402" y="18674"/>
                  </a:lnTo>
                  <a:close/>
                </a:path>
              </a:pathLst>
            </a:custGeom>
            <a:solidFill>
              <a:srgbClr val="00AA9B"/>
            </a:solidFill>
            <a:ln w="6439" cap="flat">
              <a:noFill/>
              <a:prstDash val="solid"/>
              <a:miter/>
            </a:ln>
          </p:spPr>
          <p:txBody>
            <a:bodyPr rtlCol="0" anchor="ctr"/>
            <a:lstStyle/>
            <a:p>
              <a:endParaRPr lang="en-US" sz="731"/>
            </a:p>
          </p:txBody>
        </p:sp>
        <p:grpSp>
          <p:nvGrpSpPr>
            <p:cNvPr id="40" name="Graphique 30">
              <a:extLst>
                <a:ext uri="{FF2B5EF4-FFF2-40B4-BE49-F238E27FC236}">
                  <a16:creationId xmlns:a16="http://schemas.microsoft.com/office/drawing/2014/main" id="{C1A2F515-8375-4C33-99AF-323CF12CD29D}"/>
                </a:ext>
              </a:extLst>
            </p:cNvPr>
            <p:cNvGrpSpPr/>
            <p:nvPr/>
          </p:nvGrpSpPr>
          <p:grpSpPr>
            <a:xfrm>
              <a:off x="6756400" y="5334000"/>
              <a:ext cx="1824936" cy="273031"/>
              <a:chOff x="6756400" y="5334000"/>
              <a:chExt cx="1824936" cy="273031"/>
            </a:xfrm>
          </p:grpSpPr>
          <p:sp>
            <p:nvSpPr>
              <p:cNvPr id="41" name="Freeform: Shape 40">
                <a:extLst>
                  <a:ext uri="{FF2B5EF4-FFF2-40B4-BE49-F238E27FC236}">
                    <a16:creationId xmlns:a16="http://schemas.microsoft.com/office/drawing/2014/main" id="{61F09EFB-CB0B-4FBD-B3D9-8948AB4B0676}"/>
                  </a:ext>
                </a:extLst>
              </p:cNvPr>
              <p:cNvSpPr/>
              <p:nvPr/>
            </p:nvSpPr>
            <p:spPr>
              <a:xfrm>
                <a:off x="6756400" y="5334000"/>
                <a:ext cx="1533229" cy="273031"/>
              </a:xfrm>
              <a:custGeom>
                <a:avLst/>
                <a:gdLst>
                  <a:gd name="connsiteX0" fmla="*/ 358677 w 1533229"/>
                  <a:gd name="connsiteY0" fmla="*/ 169357 h 273031"/>
                  <a:gd name="connsiteX1" fmla="*/ 358677 w 1533229"/>
                  <a:gd name="connsiteY1" fmla="*/ 269168 h 273031"/>
                  <a:gd name="connsiteX2" fmla="*/ 285267 w 1533229"/>
                  <a:gd name="connsiteY2" fmla="*/ 269168 h 273031"/>
                  <a:gd name="connsiteX3" fmla="*/ 285267 w 1533229"/>
                  <a:gd name="connsiteY3" fmla="*/ 198978 h 273031"/>
                  <a:gd name="connsiteX4" fmla="*/ 242123 w 1533229"/>
                  <a:gd name="connsiteY4" fmla="*/ 154546 h 273031"/>
                  <a:gd name="connsiteX5" fmla="*/ 183524 w 1533229"/>
                  <a:gd name="connsiteY5" fmla="*/ 177728 h 273031"/>
                  <a:gd name="connsiteX6" fmla="*/ 183524 w 1533229"/>
                  <a:gd name="connsiteY6" fmla="*/ 269812 h 273031"/>
                  <a:gd name="connsiteX7" fmla="*/ 110758 w 1533229"/>
                  <a:gd name="connsiteY7" fmla="*/ 269812 h 273031"/>
                  <a:gd name="connsiteX8" fmla="*/ 110758 w 1533229"/>
                  <a:gd name="connsiteY8" fmla="*/ 92084 h 273031"/>
                  <a:gd name="connsiteX9" fmla="*/ 183524 w 1533229"/>
                  <a:gd name="connsiteY9" fmla="*/ 92084 h 273031"/>
                  <a:gd name="connsiteX10" fmla="*/ 183524 w 1533229"/>
                  <a:gd name="connsiteY10" fmla="*/ 117842 h 273031"/>
                  <a:gd name="connsiteX11" fmla="*/ 271744 w 1533229"/>
                  <a:gd name="connsiteY11" fmla="*/ 90152 h 273031"/>
                  <a:gd name="connsiteX12" fmla="*/ 358677 w 1533229"/>
                  <a:gd name="connsiteY12" fmla="*/ 169357 h 273031"/>
                  <a:gd name="connsiteX13" fmla="*/ 765005 w 1533229"/>
                  <a:gd name="connsiteY13" fmla="*/ 36705 h 273031"/>
                  <a:gd name="connsiteX14" fmla="*/ 692239 w 1533229"/>
                  <a:gd name="connsiteY14" fmla="*/ 36705 h 273031"/>
                  <a:gd name="connsiteX15" fmla="*/ 692239 w 1533229"/>
                  <a:gd name="connsiteY15" fmla="*/ 92084 h 273031"/>
                  <a:gd name="connsiteX16" fmla="*/ 652959 w 1533229"/>
                  <a:gd name="connsiteY16" fmla="*/ 92084 h 273031"/>
                  <a:gd name="connsiteX17" fmla="*/ 652959 w 1533229"/>
                  <a:gd name="connsiteY17" fmla="*/ 151327 h 273031"/>
                  <a:gd name="connsiteX18" fmla="*/ 692239 w 1533229"/>
                  <a:gd name="connsiteY18" fmla="*/ 151327 h 273031"/>
                  <a:gd name="connsiteX19" fmla="*/ 692239 w 1533229"/>
                  <a:gd name="connsiteY19" fmla="*/ 269168 h 273031"/>
                  <a:gd name="connsiteX20" fmla="*/ 838415 w 1533229"/>
                  <a:gd name="connsiteY20" fmla="*/ 269168 h 273031"/>
                  <a:gd name="connsiteX21" fmla="*/ 838415 w 1533229"/>
                  <a:gd name="connsiteY21" fmla="*/ 209926 h 273031"/>
                  <a:gd name="connsiteX22" fmla="*/ 765649 w 1533229"/>
                  <a:gd name="connsiteY22" fmla="*/ 209926 h 273031"/>
                  <a:gd name="connsiteX23" fmla="*/ 765649 w 1533229"/>
                  <a:gd name="connsiteY23" fmla="*/ 151327 h 273031"/>
                  <a:gd name="connsiteX24" fmla="*/ 838415 w 1533229"/>
                  <a:gd name="connsiteY24" fmla="*/ 151327 h 273031"/>
                  <a:gd name="connsiteX25" fmla="*/ 838415 w 1533229"/>
                  <a:gd name="connsiteY25" fmla="*/ 92084 h 273031"/>
                  <a:gd name="connsiteX26" fmla="*/ 765649 w 1533229"/>
                  <a:gd name="connsiteY26" fmla="*/ 92084 h 273031"/>
                  <a:gd name="connsiteX27" fmla="*/ 765649 w 1533229"/>
                  <a:gd name="connsiteY27" fmla="*/ 36705 h 273031"/>
                  <a:gd name="connsiteX28" fmla="*/ 632997 w 1533229"/>
                  <a:gd name="connsiteY28" fmla="*/ 192539 h 273031"/>
                  <a:gd name="connsiteX29" fmla="*/ 462352 w 1533229"/>
                  <a:gd name="connsiteY29" fmla="*/ 192539 h 273031"/>
                  <a:gd name="connsiteX30" fmla="*/ 508072 w 1533229"/>
                  <a:gd name="connsiteY30" fmla="*/ 216365 h 273031"/>
                  <a:gd name="connsiteX31" fmla="*/ 548640 w 1533229"/>
                  <a:gd name="connsiteY31" fmla="*/ 209926 h 273031"/>
                  <a:gd name="connsiteX32" fmla="*/ 627845 w 1533229"/>
                  <a:gd name="connsiteY32" fmla="*/ 209926 h 273031"/>
                  <a:gd name="connsiteX33" fmla="*/ 508072 w 1533229"/>
                  <a:gd name="connsiteY33" fmla="*/ 273032 h 273031"/>
                  <a:gd name="connsiteX34" fmla="*/ 388942 w 1533229"/>
                  <a:gd name="connsiteY34" fmla="*/ 180304 h 273031"/>
                  <a:gd name="connsiteX35" fmla="*/ 511291 w 1533229"/>
                  <a:gd name="connsiteY35" fmla="*/ 87576 h 273031"/>
                  <a:gd name="connsiteX36" fmla="*/ 632997 w 1533229"/>
                  <a:gd name="connsiteY36" fmla="*/ 192539 h 273031"/>
                  <a:gd name="connsiteX37" fmla="*/ 556367 w 1533229"/>
                  <a:gd name="connsiteY37" fmla="*/ 152615 h 273031"/>
                  <a:gd name="connsiteX38" fmla="*/ 510647 w 1533229"/>
                  <a:gd name="connsiteY38" fmla="*/ 135228 h 273031"/>
                  <a:gd name="connsiteX39" fmla="*/ 465571 w 1533229"/>
                  <a:gd name="connsiteY39" fmla="*/ 152615 h 273031"/>
                  <a:gd name="connsiteX40" fmla="*/ 556367 w 1533229"/>
                  <a:gd name="connsiteY40" fmla="*/ 152615 h 273031"/>
                  <a:gd name="connsiteX41" fmla="*/ 1041901 w 1533229"/>
                  <a:gd name="connsiteY41" fmla="*/ 186744 h 273031"/>
                  <a:gd name="connsiteX42" fmla="*/ 985878 w 1533229"/>
                  <a:gd name="connsiteY42" fmla="*/ 208638 h 273031"/>
                  <a:gd name="connsiteX43" fmla="*/ 943377 w 1533229"/>
                  <a:gd name="connsiteY43" fmla="*/ 165493 h 273031"/>
                  <a:gd name="connsiteX44" fmla="*/ 943377 w 1533229"/>
                  <a:gd name="connsiteY44" fmla="*/ 92084 h 273031"/>
                  <a:gd name="connsiteX45" fmla="*/ 870612 w 1533229"/>
                  <a:gd name="connsiteY45" fmla="*/ 92084 h 273031"/>
                  <a:gd name="connsiteX46" fmla="*/ 870612 w 1533229"/>
                  <a:gd name="connsiteY46" fmla="*/ 194471 h 273031"/>
                  <a:gd name="connsiteX47" fmla="*/ 957544 w 1533229"/>
                  <a:gd name="connsiteY47" fmla="*/ 269812 h 273031"/>
                  <a:gd name="connsiteX48" fmla="*/ 1041901 w 1533229"/>
                  <a:gd name="connsiteY48" fmla="*/ 243411 h 273031"/>
                  <a:gd name="connsiteX49" fmla="*/ 1041901 w 1533229"/>
                  <a:gd name="connsiteY49" fmla="*/ 268524 h 273031"/>
                  <a:gd name="connsiteX50" fmla="*/ 1114667 w 1533229"/>
                  <a:gd name="connsiteY50" fmla="*/ 268524 h 273031"/>
                  <a:gd name="connsiteX51" fmla="*/ 1114667 w 1533229"/>
                  <a:gd name="connsiteY51" fmla="*/ 91440 h 273031"/>
                  <a:gd name="connsiteX52" fmla="*/ 1041901 w 1533229"/>
                  <a:gd name="connsiteY52" fmla="*/ 91440 h 273031"/>
                  <a:gd name="connsiteX53" fmla="*/ 1041901 w 1533229"/>
                  <a:gd name="connsiteY53" fmla="*/ 186744 h 273031"/>
                  <a:gd name="connsiteX54" fmla="*/ 1457888 w 1533229"/>
                  <a:gd name="connsiteY54" fmla="*/ 89508 h 273031"/>
                  <a:gd name="connsiteX55" fmla="*/ 1371600 w 1533229"/>
                  <a:gd name="connsiteY55" fmla="*/ 123637 h 273031"/>
                  <a:gd name="connsiteX56" fmla="*/ 1305274 w 1533229"/>
                  <a:gd name="connsiteY56" fmla="*/ 89508 h 273031"/>
                  <a:gd name="connsiteX57" fmla="*/ 1225425 w 1533229"/>
                  <a:gd name="connsiteY57" fmla="*/ 121705 h 273031"/>
                  <a:gd name="connsiteX58" fmla="*/ 1225425 w 1533229"/>
                  <a:gd name="connsiteY58" fmla="*/ 92084 h 273031"/>
                  <a:gd name="connsiteX59" fmla="*/ 1152659 w 1533229"/>
                  <a:gd name="connsiteY59" fmla="*/ 92084 h 273031"/>
                  <a:gd name="connsiteX60" fmla="*/ 1152659 w 1533229"/>
                  <a:gd name="connsiteY60" fmla="*/ 269168 h 273031"/>
                  <a:gd name="connsiteX61" fmla="*/ 1225425 w 1533229"/>
                  <a:gd name="connsiteY61" fmla="*/ 269168 h 273031"/>
                  <a:gd name="connsiteX62" fmla="*/ 1225425 w 1533229"/>
                  <a:gd name="connsiteY62" fmla="*/ 173865 h 273031"/>
                  <a:gd name="connsiteX63" fmla="*/ 1273721 w 1533229"/>
                  <a:gd name="connsiteY63" fmla="*/ 151327 h 273031"/>
                  <a:gd name="connsiteX64" fmla="*/ 1307850 w 1533229"/>
                  <a:gd name="connsiteY64" fmla="*/ 194471 h 273031"/>
                  <a:gd name="connsiteX65" fmla="*/ 1307850 w 1533229"/>
                  <a:gd name="connsiteY65" fmla="*/ 269168 h 273031"/>
                  <a:gd name="connsiteX66" fmla="*/ 1380615 w 1533229"/>
                  <a:gd name="connsiteY66" fmla="*/ 269168 h 273031"/>
                  <a:gd name="connsiteX67" fmla="*/ 1380615 w 1533229"/>
                  <a:gd name="connsiteY67" fmla="*/ 171933 h 273031"/>
                  <a:gd name="connsiteX68" fmla="*/ 1426335 w 1533229"/>
                  <a:gd name="connsiteY68" fmla="*/ 151327 h 273031"/>
                  <a:gd name="connsiteX69" fmla="*/ 1460464 w 1533229"/>
                  <a:gd name="connsiteY69" fmla="*/ 194471 h 273031"/>
                  <a:gd name="connsiteX70" fmla="*/ 1460464 w 1533229"/>
                  <a:gd name="connsiteY70" fmla="*/ 269168 h 273031"/>
                  <a:gd name="connsiteX71" fmla="*/ 1533230 w 1533229"/>
                  <a:gd name="connsiteY71" fmla="*/ 269168 h 273031"/>
                  <a:gd name="connsiteX72" fmla="*/ 1533230 w 1533229"/>
                  <a:gd name="connsiteY72" fmla="*/ 162918 h 273031"/>
                  <a:gd name="connsiteX73" fmla="*/ 1457888 w 1533229"/>
                  <a:gd name="connsiteY73" fmla="*/ 89508 h 273031"/>
                  <a:gd name="connsiteX74" fmla="*/ 0 w 1533229"/>
                  <a:gd name="connsiteY74" fmla="*/ 92084 h 273031"/>
                  <a:gd name="connsiteX75" fmla="*/ 0 w 1533229"/>
                  <a:gd name="connsiteY75" fmla="*/ 269168 h 273031"/>
                  <a:gd name="connsiteX76" fmla="*/ 72766 w 1533229"/>
                  <a:gd name="connsiteY76" fmla="*/ 269168 h 273031"/>
                  <a:gd name="connsiteX77" fmla="*/ 72766 w 1533229"/>
                  <a:gd name="connsiteY77" fmla="*/ 92084 h 273031"/>
                  <a:gd name="connsiteX78" fmla="*/ 0 w 1533229"/>
                  <a:gd name="connsiteY78" fmla="*/ 92084 h 273031"/>
                  <a:gd name="connsiteX79" fmla="*/ 72766 w 1533229"/>
                  <a:gd name="connsiteY79" fmla="*/ 0 h 273031"/>
                  <a:gd name="connsiteX80" fmla="*/ 0 w 1533229"/>
                  <a:gd name="connsiteY80" fmla="*/ 0 h 273031"/>
                  <a:gd name="connsiteX81" fmla="*/ 0 w 1533229"/>
                  <a:gd name="connsiteY81" fmla="*/ 72766 h 273031"/>
                  <a:gd name="connsiteX82" fmla="*/ 72766 w 1533229"/>
                  <a:gd name="connsiteY82" fmla="*/ 72766 h 273031"/>
                  <a:gd name="connsiteX83" fmla="*/ 72766 w 1533229"/>
                  <a:gd name="connsiteY83" fmla="*/ 0 h 27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533229" h="273031">
                    <a:moveTo>
                      <a:pt x="358677" y="169357"/>
                    </a:moveTo>
                    <a:lnTo>
                      <a:pt x="358677" y="269168"/>
                    </a:lnTo>
                    <a:lnTo>
                      <a:pt x="285267" y="269168"/>
                    </a:lnTo>
                    <a:lnTo>
                      <a:pt x="285267" y="198978"/>
                    </a:lnTo>
                    <a:cubicBezTo>
                      <a:pt x="285267" y="167425"/>
                      <a:pt x="274964" y="154546"/>
                      <a:pt x="242123" y="154546"/>
                    </a:cubicBezTo>
                    <a:cubicBezTo>
                      <a:pt x="220229" y="154546"/>
                      <a:pt x="197691" y="164206"/>
                      <a:pt x="183524" y="177728"/>
                    </a:cubicBezTo>
                    <a:lnTo>
                      <a:pt x="183524" y="269812"/>
                    </a:lnTo>
                    <a:lnTo>
                      <a:pt x="110758" y="269812"/>
                    </a:lnTo>
                    <a:lnTo>
                      <a:pt x="110758" y="92084"/>
                    </a:lnTo>
                    <a:lnTo>
                      <a:pt x="183524" y="92084"/>
                    </a:lnTo>
                    <a:lnTo>
                      <a:pt x="183524" y="117842"/>
                    </a:lnTo>
                    <a:cubicBezTo>
                      <a:pt x="205418" y="102387"/>
                      <a:pt x="233108" y="90152"/>
                      <a:pt x="271744" y="90152"/>
                    </a:cubicBezTo>
                    <a:cubicBezTo>
                      <a:pt x="312957" y="90152"/>
                      <a:pt x="358677" y="103675"/>
                      <a:pt x="358677" y="169357"/>
                    </a:cubicBezTo>
                    <a:close/>
                    <a:moveTo>
                      <a:pt x="765005" y="36705"/>
                    </a:moveTo>
                    <a:lnTo>
                      <a:pt x="692239" y="36705"/>
                    </a:lnTo>
                    <a:lnTo>
                      <a:pt x="692239" y="92084"/>
                    </a:lnTo>
                    <a:lnTo>
                      <a:pt x="652959" y="92084"/>
                    </a:lnTo>
                    <a:lnTo>
                      <a:pt x="652959" y="151327"/>
                    </a:lnTo>
                    <a:lnTo>
                      <a:pt x="692239" y="151327"/>
                    </a:lnTo>
                    <a:lnTo>
                      <a:pt x="692239" y="269168"/>
                    </a:lnTo>
                    <a:lnTo>
                      <a:pt x="838415" y="269168"/>
                    </a:lnTo>
                    <a:lnTo>
                      <a:pt x="838415" y="209926"/>
                    </a:lnTo>
                    <a:lnTo>
                      <a:pt x="765649" y="209926"/>
                    </a:lnTo>
                    <a:lnTo>
                      <a:pt x="765649" y="151327"/>
                    </a:lnTo>
                    <a:lnTo>
                      <a:pt x="838415" y="151327"/>
                    </a:lnTo>
                    <a:lnTo>
                      <a:pt x="838415" y="92084"/>
                    </a:lnTo>
                    <a:lnTo>
                      <a:pt x="765649" y="92084"/>
                    </a:lnTo>
                    <a:lnTo>
                      <a:pt x="765649" y="36705"/>
                    </a:lnTo>
                    <a:close/>
                    <a:moveTo>
                      <a:pt x="632997" y="192539"/>
                    </a:moveTo>
                    <a:lnTo>
                      <a:pt x="462352" y="192539"/>
                    </a:lnTo>
                    <a:cubicBezTo>
                      <a:pt x="468147" y="211857"/>
                      <a:pt x="488109" y="216365"/>
                      <a:pt x="508072" y="216365"/>
                    </a:cubicBezTo>
                    <a:cubicBezTo>
                      <a:pt x="527390" y="216365"/>
                      <a:pt x="538337" y="215077"/>
                      <a:pt x="548640" y="209926"/>
                    </a:cubicBezTo>
                    <a:lnTo>
                      <a:pt x="627845" y="209926"/>
                    </a:lnTo>
                    <a:cubicBezTo>
                      <a:pt x="616254" y="252426"/>
                      <a:pt x="577617" y="273032"/>
                      <a:pt x="508072" y="273032"/>
                    </a:cubicBezTo>
                    <a:cubicBezTo>
                      <a:pt x="437882" y="273032"/>
                      <a:pt x="388942" y="246630"/>
                      <a:pt x="388942" y="180304"/>
                    </a:cubicBezTo>
                    <a:cubicBezTo>
                      <a:pt x="388942" y="113978"/>
                      <a:pt x="437882" y="87576"/>
                      <a:pt x="511291" y="87576"/>
                    </a:cubicBezTo>
                    <a:cubicBezTo>
                      <a:pt x="585345" y="87576"/>
                      <a:pt x="632997" y="113978"/>
                      <a:pt x="632997" y="192539"/>
                    </a:cubicBezTo>
                    <a:close/>
                    <a:moveTo>
                      <a:pt x="556367" y="152615"/>
                    </a:moveTo>
                    <a:cubicBezTo>
                      <a:pt x="547996" y="140380"/>
                      <a:pt x="529966" y="135228"/>
                      <a:pt x="510647" y="135228"/>
                    </a:cubicBezTo>
                    <a:cubicBezTo>
                      <a:pt x="491329" y="135228"/>
                      <a:pt x="473299" y="141024"/>
                      <a:pt x="465571" y="152615"/>
                    </a:cubicBezTo>
                    <a:lnTo>
                      <a:pt x="556367" y="152615"/>
                    </a:lnTo>
                    <a:close/>
                    <a:moveTo>
                      <a:pt x="1041901" y="186744"/>
                    </a:moveTo>
                    <a:cubicBezTo>
                      <a:pt x="1028378" y="199622"/>
                      <a:pt x="1006484" y="208638"/>
                      <a:pt x="985878" y="208638"/>
                    </a:cubicBezTo>
                    <a:cubicBezTo>
                      <a:pt x="954325" y="208638"/>
                      <a:pt x="943377" y="195759"/>
                      <a:pt x="943377" y="165493"/>
                    </a:cubicBezTo>
                    <a:lnTo>
                      <a:pt x="943377" y="92084"/>
                    </a:lnTo>
                    <a:lnTo>
                      <a:pt x="870612" y="92084"/>
                    </a:lnTo>
                    <a:lnTo>
                      <a:pt x="870612" y="194471"/>
                    </a:lnTo>
                    <a:cubicBezTo>
                      <a:pt x="870612" y="257577"/>
                      <a:pt x="918264" y="269812"/>
                      <a:pt x="957544" y="269812"/>
                    </a:cubicBezTo>
                    <a:cubicBezTo>
                      <a:pt x="994249" y="269812"/>
                      <a:pt x="1021295" y="258221"/>
                      <a:pt x="1041901" y="243411"/>
                    </a:cubicBezTo>
                    <a:lnTo>
                      <a:pt x="1041901" y="268524"/>
                    </a:lnTo>
                    <a:lnTo>
                      <a:pt x="1114667" y="268524"/>
                    </a:lnTo>
                    <a:lnTo>
                      <a:pt x="1114667" y="91440"/>
                    </a:lnTo>
                    <a:lnTo>
                      <a:pt x="1041901" y="91440"/>
                    </a:lnTo>
                    <a:lnTo>
                      <a:pt x="1041901" y="186744"/>
                    </a:lnTo>
                    <a:close/>
                    <a:moveTo>
                      <a:pt x="1457888" y="89508"/>
                    </a:moveTo>
                    <a:cubicBezTo>
                      <a:pt x="1414744" y="89508"/>
                      <a:pt x="1388987" y="103031"/>
                      <a:pt x="1371600" y="123637"/>
                    </a:cubicBezTo>
                    <a:cubicBezTo>
                      <a:pt x="1357433" y="97879"/>
                      <a:pt x="1327168" y="89508"/>
                      <a:pt x="1305274" y="89508"/>
                    </a:cubicBezTo>
                    <a:cubicBezTo>
                      <a:pt x="1262130" y="89508"/>
                      <a:pt x="1241523" y="106895"/>
                      <a:pt x="1225425" y="121705"/>
                    </a:cubicBezTo>
                    <a:lnTo>
                      <a:pt x="1225425" y="92084"/>
                    </a:lnTo>
                    <a:lnTo>
                      <a:pt x="1152659" y="92084"/>
                    </a:lnTo>
                    <a:lnTo>
                      <a:pt x="1152659" y="269168"/>
                    </a:lnTo>
                    <a:lnTo>
                      <a:pt x="1225425" y="269168"/>
                    </a:lnTo>
                    <a:lnTo>
                      <a:pt x="1225425" y="173865"/>
                    </a:lnTo>
                    <a:cubicBezTo>
                      <a:pt x="1240236" y="159054"/>
                      <a:pt x="1255690" y="151327"/>
                      <a:pt x="1273721" y="151327"/>
                    </a:cubicBezTo>
                    <a:cubicBezTo>
                      <a:pt x="1299478" y="151327"/>
                      <a:pt x="1307850" y="164206"/>
                      <a:pt x="1307850" y="194471"/>
                    </a:cubicBezTo>
                    <a:lnTo>
                      <a:pt x="1307850" y="269168"/>
                    </a:lnTo>
                    <a:lnTo>
                      <a:pt x="1380615" y="269168"/>
                    </a:lnTo>
                    <a:lnTo>
                      <a:pt x="1380615" y="171933"/>
                    </a:lnTo>
                    <a:cubicBezTo>
                      <a:pt x="1395426" y="157122"/>
                      <a:pt x="1408305" y="151327"/>
                      <a:pt x="1426335" y="151327"/>
                    </a:cubicBezTo>
                    <a:cubicBezTo>
                      <a:pt x="1452093" y="151327"/>
                      <a:pt x="1460464" y="164206"/>
                      <a:pt x="1460464" y="194471"/>
                    </a:cubicBezTo>
                    <a:lnTo>
                      <a:pt x="1460464" y="269168"/>
                    </a:lnTo>
                    <a:lnTo>
                      <a:pt x="1533230" y="269168"/>
                    </a:lnTo>
                    <a:lnTo>
                      <a:pt x="1533230" y="162918"/>
                    </a:lnTo>
                    <a:cubicBezTo>
                      <a:pt x="1533230" y="101743"/>
                      <a:pt x="1488798" y="89508"/>
                      <a:pt x="1457888" y="89508"/>
                    </a:cubicBezTo>
                    <a:close/>
                    <a:moveTo>
                      <a:pt x="0" y="92084"/>
                    </a:moveTo>
                    <a:lnTo>
                      <a:pt x="0" y="269168"/>
                    </a:lnTo>
                    <a:lnTo>
                      <a:pt x="72766" y="269168"/>
                    </a:lnTo>
                    <a:lnTo>
                      <a:pt x="72766" y="92084"/>
                    </a:lnTo>
                    <a:lnTo>
                      <a:pt x="0" y="92084"/>
                    </a:lnTo>
                    <a:close/>
                    <a:moveTo>
                      <a:pt x="72766" y="0"/>
                    </a:moveTo>
                    <a:lnTo>
                      <a:pt x="0" y="0"/>
                    </a:lnTo>
                    <a:lnTo>
                      <a:pt x="0" y="72766"/>
                    </a:lnTo>
                    <a:lnTo>
                      <a:pt x="72766" y="72766"/>
                    </a:lnTo>
                    <a:lnTo>
                      <a:pt x="72766" y="0"/>
                    </a:lnTo>
                    <a:close/>
                  </a:path>
                </a:pathLst>
              </a:custGeom>
              <a:solidFill>
                <a:schemeClr val="bg1"/>
              </a:solidFill>
              <a:ln w="6439" cap="flat">
                <a:noFill/>
                <a:prstDash val="solid"/>
                <a:miter/>
              </a:ln>
            </p:spPr>
            <p:txBody>
              <a:bodyPr rtlCol="0" anchor="ctr"/>
              <a:lstStyle/>
              <a:p>
                <a:endParaRPr lang="en-US" sz="731"/>
              </a:p>
            </p:txBody>
          </p:sp>
          <p:sp>
            <p:nvSpPr>
              <p:cNvPr id="42" name="Freeform: Shape 41">
                <a:extLst>
                  <a:ext uri="{FF2B5EF4-FFF2-40B4-BE49-F238E27FC236}">
                    <a16:creationId xmlns:a16="http://schemas.microsoft.com/office/drawing/2014/main" id="{187CE0B4-A958-4D06-9420-19E32A7A994A}"/>
                  </a:ext>
                </a:extLst>
              </p:cNvPr>
              <p:cNvSpPr/>
              <p:nvPr/>
            </p:nvSpPr>
            <p:spPr>
              <a:xfrm>
                <a:off x="8363039" y="5384227"/>
                <a:ext cx="218296" cy="218940"/>
              </a:xfrm>
              <a:custGeom>
                <a:avLst/>
                <a:gdLst>
                  <a:gd name="connsiteX0" fmla="*/ 72766 w 218296"/>
                  <a:gd name="connsiteY0" fmla="*/ 0 h 218940"/>
                  <a:gd name="connsiteX1" fmla="*/ 72766 w 218296"/>
                  <a:gd name="connsiteY1" fmla="*/ 72766 h 218940"/>
                  <a:gd name="connsiteX2" fmla="*/ 145531 w 218296"/>
                  <a:gd name="connsiteY2" fmla="*/ 72766 h 218940"/>
                  <a:gd name="connsiteX3" fmla="*/ 145531 w 218296"/>
                  <a:gd name="connsiteY3" fmla="*/ 145531 h 218940"/>
                  <a:gd name="connsiteX4" fmla="*/ 218297 w 218296"/>
                  <a:gd name="connsiteY4" fmla="*/ 145531 h 218940"/>
                  <a:gd name="connsiteX5" fmla="*/ 218297 w 218296"/>
                  <a:gd name="connsiteY5" fmla="*/ 0 h 218940"/>
                  <a:gd name="connsiteX6" fmla="*/ 72766 w 218296"/>
                  <a:gd name="connsiteY6" fmla="*/ 0 h 218940"/>
                  <a:gd name="connsiteX7" fmla="*/ 72766 w 218296"/>
                  <a:gd name="connsiteY7" fmla="*/ 146175 h 218940"/>
                  <a:gd name="connsiteX8" fmla="*/ 0 w 218296"/>
                  <a:gd name="connsiteY8" fmla="*/ 146175 h 218940"/>
                  <a:gd name="connsiteX9" fmla="*/ 0 w 218296"/>
                  <a:gd name="connsiteY9" fmla="*/ 218941 h 218940"/>
                  <a:gd name="connsiteX10" fmla="*/ 72766 w 218296"/>
                  <a:gd name="connsiteY10" fmla="*/ 218941 h 218940"/>
                  <a:gd name="connsiteX11" fmla="*/ 72766 w 218296"/>
                  <a:gd name="connsiteY11" fmla="*/ 146175 h 21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296" h="218940">
                    <a:moveTo>
                      <a:pt x="72766" y="0"/>
                    </a:moveTo>
                    <a:lnTo>
                      <a:pt x="72766" y="72766"/>
                    </a:lnTo>
                    <a:lnTo>
                      <a:pt x="145531" y="72766"/>
                    </a:lnTo>
                    <a:lnTo>
                      <a:pt x="145531" y="145531"/>
                    </a:lnTo>
                    <a:lnTo>
                      <a:pt x="218297" y="145531"/>
                    </a:lnTo>
                    <a:lnTo>
                      <a:pt x="218297" y="0"/>
                    </a:lnTo>
                    <a:lnTo>
                      <a:pt x="72766" y="0"/>
                    </a:lnTo>
                    <a:close/>
                    <a:moveTo>
                      <a:pt x="72766" y="146175"/>
                    </a:moveTo>
                    <a:lnTo>
                      <a:pt x="0" y="146175"/>
                    </a:lnTo>
                    <a:lnTo>
                      <a:pt x="0" y="218941"/>
                    </a:lnTo>
                    <a:lnTo>
                      <a:pt x="72766" y="218941"/>
                    </a:lnTo>
                    <a:lnTo>
                      <a:pt x="72766" y="146175"/>
                    </a:lnTo>
                    <a:close/>
                  </a:path>
                </a:pathLst>
              </a:custGeom>
              <a:solidFill>
                <a:srgbClr val="00AA9B"/>
              </a:solidFill>
              <a:ln w="6439" cap="flat">
                <a:noFill/>
                <a:prstDash val="solid"/>
                <a:miter/>
              </a:ln>
            </p:spPr>
            <p:txBody>
              <a:bodyPr rtlCol="0" anchor="ctr"/>
              <a:lstStyle/>
              <a:p>
                <a:endParaRPr lang="en-US" sz="731"/>
              </a:p>
            </p:txBody>
          </p:sp>
        </p:grpSp>
      </p:grpSp>
      <p:sp>
        <p:nvSpPr>
          <p:cNvPr id="49" name="Text Placeholder 18">
            <a:extLst>
              <a:ext uri="{FF2B5EF4-FFF2-40B4-BE49-F238E27FC236}">
                <a16:creationId xmlns:a16="http://schemas.microsoft.com/office/drawing/2014/main" id="{1F2F5812-A87B-4FF0-8AF0-430D0522C059}"/>
              </a:ext>
            </a:extLst>
          </p:cNvPr>
          <p:cNvSpPr>
            <a:spLocks noGrp="1"/>
          </p:cNvSpPr>
          <p:nvPr>
            <p:ph type="body" sz="quarter" idx="12" hasCustomPrompt="1"/>
          </p:nvPr>
        </p:nvSpPr>
        <p:spPr>
          <a:xfrm>
            <a:off x="1818680"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58" name="Picture Placeholder 57">
            <a:extLst>
              <a:ext uri="{FF2B5EF4-FFF2-40B4-BE49-F238E27FC236}">
                <a16:creationId xmlns:a16="http://schemas.microsoft.com/office/drawing/2014/main" id="{565143D5-803B-4BBC-9EEC-05BD666ADE76}"/>
              </a:ext>
            </a:extLst>
          </p:cNvPr>
          <p:cNvSpPr>
            <a:spLocks noGrp="1"/>
          </p:cNvSpPr>
          <p:nvPr>
            <p:ph type="pic" sz="quarter" idx="16" hasCustomPrompt="1"/>
          </p:nvPr>
        </p:nvSpPr>
        <p:spPr>
          <a:xfrm>
            <a:off x="5231606" y="30861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59" name="Text Placeholder 18">
            <a:extLst>
              <a:ext uri="{FF2B5EF4-FFF2-40B4-BE49-F238E27FC236}">
                <a16:creationId xmlns:a16="http://schemas.microsoft.com/office/drawing/2014/main" id="{15EB7A04-D68C-41D0-B905-5073B5F80E48}"/>
              </a:ext>
            </a:extLst>
          </p:cNvPr>
          <p:cNvSpPr>
            <a:spLocks noGrp="1"/>
          </p:cNvSpPr>
          <p:nvPr>
            <p:ph type="body" sz="quarter" idx="17" hasCustomPrompt="1"/>
          </p:nvPr>
        </p:nvSpPr>
        <p:spPr>
          <a:xfrm>
            <a:off x="6493074" y="33289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
        <p:nvSpPr>
          <p:cNvPr id="60" name="Picture Placeholder 59">
            <a:extLst>
              <a:ext uri="{FF2B5EF4-FFF2-40B4-BE49-F238E27FC236}">
                <a16:creationId xmlns:a16="http://schemas.microsoft.com/office/drawing/2014/main" id="{E0B973B9-F199-4B5E-803F-4410743BD728}"/>
              </a:ext>
            </a:extLst>
          </p:cNvPr>
          <p:cNvSpPr>
            <a:spLocks noGrp="1"/>
          </p:cNvSpPr>
          <p:nvPr>
            <p:ph type="pic" sz="quarter" idx="18" hasCustomPrompt="1"/>
          </p:nvPr>
        </p:nvSpPr>
        <p:spPr>
          <a:xfrm>
            <a:off x="5231606" y="1371600"/>
            <a:ext cx="990600" cy="1219200"/>
          </a:xfrm>
          <a:prstGeom prst="ellipse">
            <a:avLst/>
          </a:prstGeom>
          <a:solidFill>
            <a:schemeClr val="bg2"/>
          </a:solidFill>
          <a:ln>
            <a:noFill/>
          </a:ln>
        </p:spPr>
        <p:txBody>
          <a:bodyPr wrap="square" anchor="ctr">
            <a:noAutofit/>
          </a:bodyPr>
          <a:lstStyle>
            <a:lvl1pPr algn="ctr">
              <a:defRPr sz="731"/>
            </a:lvl1pPr>
          </a:lstStyle>
          <a:p>
            <a:r>
              <a:rPr lang="fr-FR" dirty="0"/>
              <a:t>Insert </a:t>
            </a:r>
            <a:r>
              <a:rPr lang="fr-FR" dirty="0" err="1"/>
              <a:t>picture</a:t>
            </a:r>
            <a:endParaRPr lang="en-US" dirty="0"/>
          </a:p>
        </p:txBody>
      </p:sp>
      <p:sp>
        <p:nvSpPr>
          <p:cNvPr id="61" name="Text Placeholder 18">
            <a:extLst>
              <a:ext uri="{FF2B5EF4-FFF2-40B4-BE49-F238E27FC236}">
                <a16:creationId xmlns:a16="http://schemas.microsoft.com/office/drawing/2014/main" id="{A2767ABD-17B9-4375-BB06-FA22C3DCE96B}"/>
              </a:ext>
            </a:extLst>
          </p:cNvPr>
          <p:cNvSpPr>
            <a:spLocks noGrp="1"/>
          </p:cNvSpPr>
          <p:nvPr>
            <p:ph type="body" sz="quarter" idx="19" hasCustomPrompt="1"/>
          </p:nvPr>
        </p:nvSpPr>
        <p:spPr>
          <a:xfrm>
            <a:off x="6493074" y="1614406"/>
            <a:ext cx="2437804" cy="767105"/>
          </a:xfrm>
        </p:spPr>
        <p:txBody>
          <a:bodyPr wrap="square" tIns="75600">
            <a:spAutoFit/>
          </a:bodyPr>
          <a:lstStyle>
            <a:lvl1pPr marL="8775">
              <a:defRPr/>
            </a:lvl1pPr>
            <a:lvl2pPr marL="8775">
              <a:spcBef>
                <a:spcPts val="183"/>
              </a:spcBef>
              <a:defRPr sz="914">
                <a:solidFill>
                  <a:schemeClr val="accent2"/>
                </a:solidFill>
                <a:latin typeface="+mj-lt"/>
              </a:defRPr>
            </a:lvl2pPr>
            <a:lvl3pPr>
              <a:spcBef>
                <a:spcPts val="280"/>
              </a:spcBef>
              <a:defRPr sz="792">
                <a:solidFill>
                  <a:schemeClr val="accent1"/>
                </a:solidFill>
              </a:defRPr>
            </a:lvl3pPr>
            <a:lvl4pPr>
              <a:defRPr/>
            </a:lvl4pPr>
            <a:lvl5pPr>
              <a:defRPr/>
            </a:lvl5pPr>
          </a:lstStyle>
          <a:p>
            <a:pPr lvl="0"/>
            <a:r>
              <a:rPr lang="en-US" dirty="0"/>
              <a:t>First name Last name</a:t>
            </a:r>
          </a:p>
          <a:p>
            <a:pPr lvl="1"/>
            <a:r>
              <a:rPr lang="en-US" dirty="0"/>
              <a:t>email@inetum.com</a:t>
            </a:r>
          </a:p>
          <a:p>
            <a:pPr lvl="2"/>
            <a:r>
              <a:rPr lang="en-US" dirty="0"/>
              <a:t>Social network</a:t>
            </a:r>
          </a:p>
        </p:txBody>
      </p:sp>
    </p:spTree>
    <p:extLst>
      <p:ext uri="{BB962C8B-B14F-4D97-AF65-F5344CB8AC3E}">
        <p14:creationId xmlns:p14="http://schemas.microsoft.com/office/powerpoint/2010/main" val="1411583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7213" y="3713307"/>
            <a:ext cx="2228850"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5" name="object 13">
            <a:extLst>
              <a:ext uri="{FF2B5EF4-FFF2-40B4-BE49-F238E27FC236}">
                <a16:creationId xmlns:a16="http://schemas.microsoft.com/office/drawing/2014/main" id="{2F0B4D82-3112-41F2-AD2B-0EF2CD0013D4}"/>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rgbClr val="232D4B"/>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7D4A96E6-C3EB-45C1-B3BA-4E240EF4D554}"/>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Tree>
    <p:extLst>
      <p:ext uri="{BB962C8B-B14F-4D97-AF65-F5344CB8AC3E}">
        <p14:creationId xmlns:p14="http://schemas.microsoft.com/office/powerpoint/2010/main" val="4094695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ark End EN">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5" name="object 29">
            <a:extLst>
              <a:ext uri="{FF2B5EF4-FFF2-40B4-BE49-F238E27FC236}">
                <a16:creationId xmlns:a16="http://schemas.microsoft.com/office/drawing/2014/main" id="{06CB742D-9F4D-42D3-B49A-F528B3B02573}"/>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PAIN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UM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SWITZERLAND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ENG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ND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MAN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OROCCO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ENE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O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Z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CO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OF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ER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DOMINICAN REPUBLIC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RE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sz="853" spc="18" dirty="0">
                <a:solidFill>
                  <a:srgbClr val="00AC9C"/>
                </a:solidFill>
                <a:latin typeface="Verdana" panose="020B0604030504040204" pitchFamily="34" charset="0"/>
                <a:cs typeface="Poppins"/>
              </a:rPr>
              <a:t>UAE</a:t>
            </a:r>
            <a:endParaRPr sz="853" dirty="0">
              <a:latin typeface="Verdana" panose="020B0604030504040204" pitchFamily="34" charset="0"/>
              <a:cs typeface="Poppins"/>
            </a:endParaRPr>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Tree>
    <p:extLst>
      <p:ext uri="{BB962C8B-B14F-4D97-AF65-F5344CB8AC3E}">
        <p14:creationId xmlns:p14="http://schemas.microsoft.com/office/powerpoint/2010/main" val="37348805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ark End FR">
    <p:bg>
      <p:bgPr>
        <a:solidFill>
          <a:schemeClr val="tx2"/>
        </a:solidFill>
        <a:effectLst/>
      </p:bgPr>
    </p:bg>
    <p:spTree>
      <p:nvGrpSpPr>
        <p:cNvPr id="1" name=""/>
        <p:cNvGrpSpPr/>
        <p:nvPr/>
      </p:nvGrpSpPr>
      <p:grpSpPr>
        <a:xfrm>
          <a:off x="0" y="0"/>
          <a:ext cx="0" cy="0"/>
          <a:chOff x="0" y="0"/>
          <a:chExt cx="0" cy="0"/>
        </a:xfrm>
      </p:grpSpPr>
      <p:sp>
        <p:nvSpPr>
          <p:cNvPr id="96" name="Freeform: Shape 95">
            <a:extLst>
              <a:ext uri="{FF2B5EF4-FFF2-40B4-BE49-F238E27FC236}">
                <a16:creationId xmlns:a16="http://schemas.microsoft.com/office/drawing/2014/main" id="{4C564269-2D87-478B-AE16-29E8D03E9CC3}"/>
              </a:ext>
            </a:extLst>
          </p:cNvPr>
          <p:cNvSpPr/>
          <p:nvPr userDrawn="1"/>
        </p:nvSpPr>
        <p:spPr>
          <a:xfrm>
            <a:off x="556838" y="5552612"/>
            <a:ext cx="216919" cy="266977"/>
          </a:xfrm>
          <a:custGeom>
            <a:avLst/>
            <a:gdLst>
              <a:gd name="connsiteX0" fmla="*/ 194681 w 355969"/>
              <a:gd name="connsiteY0" fmla="*/ 72480 h 355969"/>
              <a:gd name="connsiteX1" fmla="*/ 228819 w 355969"/>
              <a:gd name="connsiteY1" fmla="*/ 72727 h 355969"/>
              <a:gd name="connsiteX2" fmla="*/ 228819 w 355969"/>
              <a:gd name="connsiteY2" fmla="*/ 110823 h 355969"/>
              <a:gd name="connsiteX3" fmla="*/ 204082 w 355969"/>
              <a:gd name="connsiteY3" fmla="*/ 110823 h 355969"/>
              <a:gd name="connsiteX4" fmla="*/ 194434 w 355969"/>
              <a:gd name="connsiteY4" fmla="*/ 121460 h 355969"/>
              <a:gd name="connsiteX5" fmla="*/ 194434 w 355969"/>
              <a:gd name="connsiteY5" fmla="*/ 144465 h 355969"/>
              <a:gd name="connsiteX6" fmla="*/ 229313 w 355969"/>
              <a:gd name="connsiteY6" fmla="*/ 144465 h 355969"/>
              <a:gd name="connsiteX7" fmla="*/ 225356 w 355969"/>
              <a:gd name="connsiteY7" fmla="*/ 183550 h 355969"/>
              <a:gd name="connsiteX8" fmla="*/ 194434 w 355969"/>
              <a:gd name="connsiteY8" fmla="*/ 183550 h 355969"/>
              <a:gd name="connsiteX9" fmla="*/ 194434 w 355969"/>
              <a:gd name="connsiteY9" fmla="*/ 283241 h 355969"/>
              <a:gd name="connsiteX10" fmla="*/ 148423 w 355969"/>
              <a:gd name="connsiteY10" fmla="*/ 283241 h 355969"/>
              <a:gd name="connsiteX11" fmla="*/ 148423 w 355969"/>
              <a:gd name="connsiteY11" fmla="*/ 183303 h 355969"/>
              <a:gd name="connsiteX12" fmla="*/ 126654 w 355969"/>
              <a:gd name="connsiteY12" fmla="*/ 183303 h 355969"/>
              <a:gd name="connsiteX13" fmla="*/ 126654 w 355969"/>
              <a:gd name="connsiteY13" fmla="*/ 144218 h 355969"/>
              <a:gd name="connsiteX14" fmla="*/ 148423 w 355969"/>
              <a:gd name="connsiteY14" fmla="*/ 144218 h 355969"/>
              <a:gd name="connsiteX15" fmla="*/ 148423 w 355969"/>
              <a:gd name="connsiteY15" fmla="*/ 118986 h 355969"/>
              <a:gd name="connsiteX16" fmla="*/ 194681 w 355969"/>
              <a:gd name="connsiteY16" fmla="*/ 72480 h 355969"/>
              <a:gd name="connsiteX17" fmla="*/ 12369 w 355969"/>
              <a:gd name="connsiteY17" fmla="*/ 12369 h 355969"/>
              <a:gd name="connsiteX18" fmla="*/ 12369 w 355969"/>
              <a:gd name="connsiteY18" fmla="*/ 343600 h 355969"/>
              <a:gd name="connsiteX19" fmla="*/ 343600 w 355969"/>
              <a:gd name="connsiteY19" fmla="*/ 343600 h 355969"/>
              <a:gd name="connsiteX20" fmla="*/ 343600 w 355969"/>
              <a:gd name="connsiteY20" fmla="*/ 12369 h 355969"/>
              <a:gd name="connsiteX21" fmla="*/ 0 w 355969"/>
              <a:gd name="connsiteY21" fmla="*/ 0 h 355969"/>
              <a:gd name="connsiteX22" fmla="*/ 355969 w 355969"/>
              <a:gd name="connsiteY22" fmla="*/ 0 h 355969"/>
              <a:gd name="connsiteX23" fmla="*/ 355969 w 355969"/>
              <a:gd name="connsiteY23" fmla="*/ 355969 h 355969"/>
              <a:gd name="connsiteX24" fmla="*/ 0 w 355969"/>
              <a:gd name="connsiteY24"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5969" h="355969">
                <a:moveTo>
                  <a:pt x="194681" y="72480"/>
                </a:moveTo>
                <a:lnTo>
                  <a:pt x="228819" y="72727"/>
                </a:lnTo>
                <a:lnTo>
                  <a:pt x="228819" y="110823"/>
                </a:lnTo>
                <a:lnTo>
                  <a:pt x="204082" y="110823"/>
                </a:lnTo>
                <a:cubicBezTo>
                  <a:pt x="200124" y="110823"/>
                  <a:pt x="194434" y="112802"/>
                  <a:pt x="194434" y="121460"/>
                </a:cubicBezTo>
                <a:lnTo>
                  <a:pt x="194434" y="144465"/>
                </a:lnTo>
                <a:lnTo>
                  <a:pt x="229313" y="144465"/>
                </a:lnTo>
                <a:lnTo>
                  <a:pt x="225356" y="183550"/>
                </a:lnTo>
                <a:lnTo>
                  <a:pt x="194434" y="183550"/>
                </a:lnTo>
                <a:lnTo>
                  <a:pt x="194434" y="283241"/>
                </a:lnTo>
                <a:lnTo>
                  <a:pt x="148423" y="283241"/>
                </a:lnTo>
                <a:lnTo>
                  <a:pt x="148423" y="183303"/>
                </a:lnTo>
                <a:lnTo>
                  <a:pt x="126654" y="183303"/>
                </a:lnTo>
                <a:lnTo>
                  <a:pt x="126654" y="144218"/>
                </a:lnTo>
                <a:lnTo>
                  <a:pt x="148423" y="144218"/>
                </a:lnTo>
                <a:lnTo>
                  <a:pt x="148423" y="118986"/>
                </a:lnTo>
                <a:cubicBezTo>
                  <a:pt x="148423" y="100928"/>
                  <a:pt x="157081" y="72727"/>
                  <a:pt x="194681" y="724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sp>
        <p:nvSpPr>
          <p:cNvPr id="94" name="Freeform: Shape 93">
            <a:extLst>
              <a:ext uri="{FF2B5EF4-FFF2-40B4-BE49-F238E27FC236}">
                <a16:creationId xmlns:a16="http://schemas.microsoft.com/office/drawing/2014/main" id="{476E0276-2192-4BC6-8F70-F1EE82A36BF6}"/>
              </a:ext>
            </a:extLst>
          </p:cNvPr>
          <p:cNvSpPr/>
          <p:nvPr userDrawn="1"/>
        </p:nvSpPr>
        <p:spPr>
          <a:xfrm>
            <a:off x="884326" y="5552612"/>
            <a:ext cx="216919" cy="266977"/>
          </a:xfrm>
          <a:custGeom>
            <a:avLst/>
            <a:gdLst>
              <a:gd name="connsiteX0" fmla="*/ 216945 w 355969"/>
              <a:gd name="connsiteY0" fmla="*/ 95980 h 355969"/>
              <a:gd name="connsiteX1" fmla="*/ 247372 w 355969"/>
              <a:gd name="connsiteY1" fmla="*/ 109091 h 355969"/>
              <a:gd name="connsiteX2" fmla="*/ 273841 w 355969"/>
              <a:gd name="connsiteY2" fmla="*/ 98948 h 355969"/>
              <a:gd name="connsiteX3" fmla="*/ 255536 w 355969"/>
              <a:gd name="connsiteY3" fmla="*/ 121954 h 355969"/>
              <a:gd name="connsiteX4" fmla="*/ 279531 w 355969"/>
              <a:gd name="connsiteY4" fmla="*/ 115275 h 355969"/>
              <a:gd name="connsiteX5" fmla="*/ 258751 w 355969"/>
              <a:gd name="connsiteY5" fmla="*/ 136796 h 355969"/>
              <a:gd name="connsiteX6" fmla="*/ 258751 w 355969"/>
              <a:gd name="connsiteY6" fmla="*/ 142239 h 355969"/>
              <a:gd name="connsiteX7" fmla="*/ 140260 w 355969"/>
              <a:gd name="connsiteY7" fmla="*/ 260730 h 355969"/>
              <a:gd name="connsiteX8" fmla="*/ 76438 w 355969"/>
              <a:gd name="connsiteY8" fmla="*/ 241930 h 355969"/>
              <a:gd name="connsiteX9" fmla="*/ 86086 w 355969"/>
              <a:gd name="connsiteY9" fmla="*/ 242672 h 355969"/>
              <a:gd name="connsiteX10" fmla="*/ 137786 w 355969"/>
              <a:gd name="connsiteY10" fmla="*/ 224861 h 355969"/>
              <a:gd name="connsiteX11" fmla="*/ 98949 w 355969"/>
              <a:gd name="connsiteY11" fmla="*/ 195918 h 355969"/>
              <a:gd name="connsiteX12" fmla="*/ 106865 w 355969"/>
              <a:gd name="connsiteY12" fmla="*/ 196661 h 355969"/>
              <a:gd name="connsiteX13" fmla="*/ 117749 w 355969"/>
              <a:gd name="connsiteY13" fmla="*/ 195176 h 355969"/>
              <a:gd name="connsiteX14" fmla="*/ 84354 w 355969"/>
              <a:gd name="connsiteY14" fmla="*/ 154360 h 355969"/>
              <a:gd name="connsiteX15" fmla="*/ 84354 w 355969"/>
              <a:gd name="connsiteY15" fmla="*/ 153865 h 355969"/>
              <a:gd name="connsiteX16" fmla="*/ 103154 w 355969"/>
              <a:gd name="connsiteY16" fmla="*/ 159060 h 355969"/>
              <a:gd name="connsiteX17" fmla="*/ 84601 w 355969"/>
              <a:gd name="connsiteY17" fmla="*/ 124428 h 355969"/>
              <a:gd name="connsiteX18" fmla="*/ 90291 w 355969"/>
              <a:gd name="connsiteY18" fmla="*/ 103401 h 355969"/>
              <a:gd name="connsiteX19" fmla="*/ 176129 w 355969"/>
              <a:gd name="connsiteY19" fmla="*/ 146939 h 355969"/>
              <a:gd name="connsiteX20" fmla="*/ 175140 w 355969"/>
              <a:gd name="connsiteY20" fmla="*/ 137539 h 355969"/>
              <a:gd name="connsiteX21" fmla="*/ 216945 w 355969"/>
              <a:gd name="connsiteY21" fmla="*/ 95980 h 355969"/>
              <a:gd name="connsiteX22" fmla="*/ 12369 w 355969"/>
              <a:gd name="connsiteY22" fmla="*/ 12369 h 355969"/>
              <a:gd name="connsiteX23" fmla="*/ 12369 w 355969"/>
              <a:gd name="connsiteY23" fmla="*/ 343600 h 355969"/>
              <a:gd name="connsiteX24" fmla="*/ 343600 w 355969"/>
              <a:gd name="connsiteY24" fmla="*/ 343600 h 355969"/>
              <a:gd name="connsiteX25" fmla="*/ 343600 w 355969"/>
              <a:gd name="connsiteY25" fmla="*/ 12369 h 355969"/>
              <a:gd name="connsiteX26" fmla="*/ 0 w 355969"/>
              <a:gd name="connsiteY26" fmla="*/ 0 h 355969"/>
              <a:gd name="connsiteX27" fmla="*/ 355969 w 355969"/>
              <a:gd name="connsiteY27" fmla="*/ 0 h 355969"/>
              <a:gd name="connsiteX28" fmla="*/ 355969 w 355969"/>
              <a:gd name="connsiteY28" fmla="*/ 355969 h 355969"/>
              <a:gd name="connsiteX29" fmla="*/ 0 w 355969"/>
              <a:gd name="connsiteY2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5969" h="355969">
                <a:moveTo>
                  <a:pt x="216945" y="95980"/>
                </a:moveTo>
                <a:cubicBezTo>
                  <a:pt x="228819" y="95980"/>
                  <a:pt x="239704" y="100927"/>
                  <a:pt x="247372" y="109091"/>
                </a:cubicBezTo>
                <a:cubicBezTo>
                  <a:pt x="256772" y="107112"/>
                  <a:pt x="265678" y="103649"/>
                  <a:pt x="273841" y="98948"/>
                </a:cubicBezTo>
                <a:cubicBezTo>
                  <a:pt x="270625" y="108596"/>
                  <a:pt x="264194" y="116759"/>
                  <a:pt x="255536" y="121954"/>
                </a:cubicBezTo>
                <a:cubicBezTo>
                  <a:pt x="263946" y="120717"/>
                  <a:pt x="272109" y="118491"/>
                  <a:pt x="279531" y="115275"/>
                </a:cubicBezTo>
                <a:cubicBezTo>
                  <a:pt x="273841" y="123686"/>
                  <a:pt x="266915" y="130859"/>
                  <a:pt x="258751" y="136796"/>
                </a:cubicBezTo>
                <a:cubicBezTo>
                  <a:pt x="258751" y="138528"/>
                  <a:pt x="258751" y="140507"/>
                  <a:pt x="258751" y="142239"/>
                </a:cubicBezTo>
                <a:cubicBezTo>
                  <a:pt x="258751" y="197155"/>
                  <a:pt x="216945" y="260730"/>
                  <a:pt x="140260" y="260730"/>
                </a:cubicBezTo>
                <a:cubicBezTo>
                  <a:pt x="116760" y="260730"/>
                  <a:pt x="94991" y="253803"/>
                  <a:pt x="76438" y="241930"/>
                </a:cubicBezTo>
                <a:cubicBezTo>
                  <a:pt x="79654" y="242177"/>
                  <a:pt x="82870" y="242424"/>
                  <a:pt x="86086" y="242672"/>
                </a:cubicBezTo>
                <a:cubicBezTo>
                  <a:pt x="105628" y="242672"/>
                  <a:pt x="123439" y="235993"/>
                  <a:pt x="137786" y="224861"/>
                </a:cubicBezTo>
                <a:cubicBezTo>
                  <a:pt x="119728" y="224614"/>
                  <a:pt x="104144" y="212492"/>
                  <a:pt x="98949" y="195918"/>
                </a:cubicBezTo>
                <a:cubicBezTo>
                  <a:pt x="101670" y="196413"/>
                  <a:pt x="104144" y="196661"/>
                  <a:pt x="106865" y="196661"/>
                </a:cubicBezTo>
                <a:cubicBezTo>
                  <a:pt x="110575" y="196661"/>
                  <a:pt x="114286" y="196166"/>
                  <a:pt x="117749" y="195176"/>
                </a:cubicBezTo>
                <a:cubicBezTo>
                  <a:pt x="98702" y="191466"/>
                  <a:pt x="84354" y="174644"/>
                  <a:pt x="84354" y="154360"/>
                </a:cubicBezTo>
                <a:cubicBezTo>
                  <a:pt x="84354" y="154112"/>
                  <a:pt x="84354" y="154112"/>
                  <a:pt x="84354" y="153865"/>
                </a:cubicBezTo>
                <a:cubicBezTo>
                  <a:pt x="89796" y="157081"/>
                  <a:pt x="96228" y="158813"/>
                  <a:pt x="103154" y="159060"/>
                </a:cubicBezTo>
                <a:cubicBezTo>
                  <a:pt x="92022" y="151639"/>
                  <a:pt x="84601" y="138775"/>
                  <a:pt x="84601" y="124428"/>
                </a:cubicBezTo>
                <a:cubicBezTo>
                  <a:pt x="84601" y="116759"/>
                  <a:pt x="86828" y="109585"/>
                  <a:pt x="90291" y="103401"/>
                </a:cubicBezTo>
                <a:cubicBezTo>
                  <a:pt x="110823" y="128633"/>
                  <a:pt x="141497" y="145207"/>
                  <a:pt x="176129" y="146939"/>
                </a:cubicBezTo>
                <a:cubicBezTo>
                  <a:pt x="175634" y="143970"/>
                  <a:pt x="175140" y="140754"/>
                  <a:pt x="175140" y="137539"/>
                </a:cubicBezTo>
                <a:cubicBezTo>
                  <a:pt x="175140" y="114533"/>
                  <a:pt x="193940" y="95980"/>
                  <a:pt x="216945" y="95980"/>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731"/>
          </a:p>
        </p:txBody>
      </p:sp>
      <p:pic>
        <p:nvPicPr>
          <p:cNvPr id="2" name="Graphique 30">
            <a:extLst>
              <a:ext uri="{FF2B5EF4-FFF2-40B4-BE49-F238E27FC236}">
                <a16:creationId xmlns:a16="http://schemas.microsoft.com/office/drawing/2014/main" id="{C83DFE0C-84EB-4342-A444-67F30DED46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7214" y="3713307"/>
            <a:ext cx="2228848" cy="647163"/>
          </a:xfrm>
          <a:prstGeom prst="rect">
            <a:avLst/>
          </a:prstGeom>
        </p:spPr>
      </p:pic>
      <p:grpSp>
        <p:nvGrpSpPr>
          <p:cNvPr id="46" name="object 2">
            <a:extLst>
              <a:ext uri="{FF2B5EF4-FFF2-40B4-BE49-F238E27FC236}">
                <a16:creationId xmlns:a16="http://schemas.microsoft.com/office/drawing/2014/main" id="{BB9F7213-EC40-4749-A1E4-E32C4E765A91}"/>
              </a:ext>
            </a:extLst>
          </p:cNvPr>
          <p:cNvGrpSpPr/>
          <p:nvPr userDrawn="1"/>
        </p:nvGrpSpPr>
        <p:grpSpPr>
          <a:xfrm>
            <a:off x="7119937" y="4800600"/>
            <a:ext cx="2786063" cy="2057400"/>
            <a:chOff x="11684000" y="6400800"/>
            <a:chExt cx="4572000" cy="2743200"/>
          </a:xfrm>
        </p:grpSpPr>
        <p:sp>
          <p:nvSpPr>
            <p:cNvPr id="47" name="object 3">
              <a:extLst>
                <a:ext uri="{FF2B5EF4-FFF2-40B4-BE49-F238E27FC236}">
                  <a16:creationId xmlns:a16="http://schemas.microsoft.com/office/drawing/2014/main" id="{A3DA601A-C499-463F-B966-C0E55DB30FFE}"/>
                </a:ext>
              </a:extLst>
            </p:cNvPr>
            <p:cNvSpPr/>
            <p:nvPr/>
          </p:nvSpPr>
          <p:spPr>
            <a:xfrm>
              <a:off x="15341600" y="8229600"/>
              <a:ext cx="914400" cy="9144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sz="731"/>
            </a:p>
          </p:txBody>
        </p:sp>
        <p:sp>
          <p:nvSpPr>
            <p:cNvPr id="50" name="object 4">
              <a:extLst>
                <a:ext uri="{FF2B5EF4-FFF2-40B4-BE49-F238E27FC236}">
                  <a16:creationId xmlns:a16="http://schemas.microsoft.com/office/drawing/2014/main" id="{57EA7595-5FA8-47B7-A684-859CB6B726B8}"/>
                </a:ext>
              </a:extLst>
            </p:cNvPr>
            <p:cNvSpPr/>
            <p:nvPr/>
          </p:nvSpPr>
          <p:spPr>
            <a:xfrm>
              <a:off x="11684000" y="6400799"/>
              <a:ext cx="4572000" cy="2743200"/>
            </a:xfrm>
            <a:custGeom>
              <a:avLst/>
              <a:gdLst/>
              <a:ahLst/>
              <a:cxnLst/>
              <a:rect l="l" t="t" r="r" b="b"/>
              <a:pathLst>
                <a:path w="4572000" h="2743200">
                  <a:moveTo>
                    <a:pt x="914400" y="0"/>
                  </a:moveTo>
                  <a:lnTo>
                    <a:pt x="0" y="0"/>
                  </a:lnTo>
                  <a:lnTo>
                    <a:pt x="0" y="914400"/>
                  </a:lnTo>
                  <a:lnTo>
                    <a:pt x="914400" y="914400"/>
                  </a:lnTo>
                  <a:lnTo>
                    <a:pt x="914400" y="0"/>
                  </a:lnTo>
                  <a:close/>
                </a:path>
                <a:path w="4572000" h="2743200">
                  <a:moveTo>
                    <a:pt x="1813928" y="1828800"/>
                  </a:moveTo>
                  <a:lnTo>
                    <a:pt x="899528" y="1828800"/>
                  </a:lnTo>
                  <a:lnTo>
                    <a:pt x="899528" y="2743200"/>
                  </a:lnTo>
                  <a:lnTo>
                    <a:pt x="1813928" y="2743200"/>
                  </a:lnTo>
                  <a:lnTo>
                    <a:pt x="1813928" y="1828800"/>
                  </a:lnTo>
                  <a:close/>
                </a:path>
                <a:path w="4572000" h="2743200">
                  <a:moveTo>
                    <a:pt x="2742171" y="914400"/>
                  </a:moveTo>
                  <a:lnTo>
                    <a:pt x="1827771" y="914400"/>
                  </a:lnTo>
                  <a:lnTo>
                    <a:pt x="1827771" y="1828800"/>
                  </a:lnTo>
                  <a:lnTo>
                    <a:pt x="2742171" y="1828800"/>
                  </a:lnTo>
                  <a:lnTo>
                    <a:pt x="2742171" y="914400"/>
                  </a:lnTo>
                  <a:close/>
                </a:path>
                <a:path w="4572000" h="2743200">
                  <a:moveTo>
                    <a:pt x="3657600" y="0"/>
                  </a:moveTo>
                  <a:lnTo>
                    <a:pt x="2743200" y="0"/>
                  </a:lnTo>
                  <a:lnTo>
                    <a:pt x="2743200" y="914400"/>
                  </a:lnTo>
                  <a:lnTo>
                    <a:pt x="3657600" y="914400"/>
                  </a:lnTo>
                  <a:lnTo>
                    <a:pt x="3657600" y="0"/>
                  </a:lnTo>
                  <a:close/>
                </a:path>
                <a:path w="4572000" h="2743200">
                  <a:moveTo>
                    <a:pt x="4572000" y="914400"/>
                  </a:moveTo>
                  <a:lnTo>
                    <a:pt x="3657600" y="914400"/>
                  </a:lnTo>
                  <a:lnTo>
                    <a:pt x="3657600" y="1828800"/>
                  </a:lnTo>
                  <a:lnTo>
                    <a:pt x="4572000" y="1828800"/>
                  </a:lnTo>
                  <a:lnTo>
                    <a:pt x="4572000" y="914400"/>
                  </a:lnTo>
                  <a:close/>
                </a:path>
              </a:pathLst>
            </a:custGeom>
            <a:solidFill>
              <a:srgbClr val="005473"/>
            </a:solidFill>
          </p:spPr>
          <p:txBody>
            <a:bodyPr wrap="square" lIns="0" tIns="0" rIns="0" bIns="0" rtlCol="0"/>
            <a:lstStyle/>
            <a:p>
              <a:endParaRPr sz="731"/>
            </a:p>
          </p:txBody>
        </p:sp>
      </p:grpSp>
      <p:sp>
        <p:nvSpPr>
          <p:cNvPr id="51" name="object 5">
            <a:extLst>
              <a:ext uri="{FF2B5EF4-FFF2-40B4-BE49-F238E27FC236}">
                <a16:creationId xmlns:a16="http://schemas.microsoft.com/office/drawing/2014/main" id="{834E675D-8600-4DE1-99EE-C11F03127E1D}"/>
              </a:ext>
            </a:extLst>
          </p:cNvPr>
          <p:cNvSpPr/>
          <p:nvPr userDrawn="1"/>
        </p:nvSpPr>
        <p:spPr>
          <a:xfrm>
            <a:off x="6005590" y="54864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53" name="object 7">
            <a:extLst>
              <a:ext uri="{FF2B5EF4-FFF2-40B4-BE49-F238E27FC236}">
                <a16:creationId xmlns:a16="http://schemas.microsoft.com/office/drawing/2014/main" id="{0FD0DC21-D1DC-424F-A634-BAAECE75093E}"/>
              </a:ext>
            </a:extLst>
          </p:cNvPr>
          <p:cNvSpPr/>
          <p:nvPr userDrawn="1"/>
        </p:nvSpPr>
        <p:spPr>
          <a:xfrm>
            <a:off x="8234363" y="0"/>
            <a:ext cx="1114425" cy="2057400"/>
          </a:xfrm>
          <a:custGeom>
            <a:avLst/>
            <a:gdLst/>
            <a:ahLst/>
            <a:cxnLst/>
            <a:rect l="l" t="t" r="r" b="b"/>
            <a:pathLst>
              <a:path w="1828800" h="2743200">
                <a:moveTo>
                  <a:pt x="914400" y="1828800"/>
                </a:moveTo>
                <a:lnTo>
                  <a:pt x="0" y="1828800"/>
                </a:lnTo>
                <a:lnTo>
                  <a:pt x="0" y="2743200"/>
                </a:lnTo>
                <a:lnTo>
                  <a:pt x="914400" y="2743200"/>
                </a:lnTo>
                <a:lnTo>
                  <a:pt x="914400" y="1828800"/>
                </a:lnTo>
                <a:close/>
              </a:path>
              <a:path w="1828800" h="2743200">
                <a:moveTo>
                  <a:pt x="1828800" y="0"/>
                </a:moveTo>
                <a:lnTo>
                  <a:pt x="914400" y="0"/>
                </a:lnTo>
                <a:lnTo>
                  <a:pt x="914400" y="914400"/>
                </a:lnTo>
                <a:lnTo>
                  <a:pt x="914400" y="1828800"/>
                </a:lnTo>
                <a:lnTo>
                  <a:pt x="1828800" y="1828800"/>
                </a:lnTo>
                <a:lnTo>
                  <a:pt x="1828800" y="914400"/>
                </a:lnTo>
                <a:lnTo>
                  <a:pt x="1828800" y="0"/>
                </a:lnTo>
                <a:close/>
              </a:path>
            </a:pathLst>
          </a:custGeom>
          <a:solidFill>
            <a:srgbClr val="005473"/>
          </a:solidFill>
        </p:spPr>
        <p:txBody>
          <a:bodyPr wrap="square" lIns="0" tIns="0" rIns="0" bIns="0" rtlCol="0"/>
          <a:lstStyle/>
          <a:p>
            <a:endParaRPr sz="731"/>
          </a:p>
        </p:txBody>
      </p:sp>
      <p:sp>
        <p:nvSpPr>
          <p:cNvPr id="54" name="object 8">
            <a:extLst>
              <a:ext uri="{FF2B5EF4-FFF2-40B4-BE49-F238E27FC236}">
                <a16:creationId xmlns:a16="http://schemas.microsoft.com/office/drawing/2014/main" id="{8B413841-B2AA-4355-A7C7-CEFEBD01FC8E}"/>
              </a:ext>
            </a:extLst>
          </p:cNvPr>
          <p:cNvSpPr/>
          <p:nvPr userDrawn="1"/>
        </p:nvSpPr>
        <p:spPr>
          <a:xfrm>
            <a:off x="5448300" y="1371599"/>
            <a:ext cx="1114425" cy="1371600"/>
          </a:xfrm>
          <a:custGeom>
            <a:avLst/>
            <a:gdLst/>
            <a:ahLst/>
            <a:cxnLst/>
            <a:rect l="l" t="t" r="r" b="b"/>
            <a:pathLst>
              <a:path w="1828800" h="1828800">
                <a:moveTo>
                  <a:pt x="914400" y="914400"/>
                </a:moveTo>
                <a:lnTo>
                  <a:pt x="0" y="914400"/>
                </a:lnTo>
                <a:lnTo>
                  <a:pt x="0" y="1828800"/>
                </a:lnTo>
                <a:lnTo>
                  <a:pt x="914400" y="1828800"/>
                </a:lnTo>
                <a:lnTo>
                  <a:pt x="914400" y="914400"/>
                </a:lnTo>
                <a:close/>
              </a:path>
              <a:path w="1828800" h="1828800">
                <a:moveTo>
                  <a:pt x="1828800" y="0"/>
                </a:moveTo>
                <a:lnTo>
                  <a:pt x="914400" y="0"/>
                </a:lnTo>
                <a:lnTo>
                  <a:pt x="914400" y="914400"/>
                </a:lnTo>
                <a:lnTo>
                  <a:pt x="1828800" y="914400"/>
                </a:lnTo>
                <a:lnTo>
                  <a:pt x="1828800" y="0"/>
                </a:lnTo>
                <a:close/>
              </a:path>
            </a:pathLst>
          </a:custGeom>
          <a:solidFill>
            <a:srgbClr val="005473"/>
          </a:solidFill>
        </p:spPr>
        <p:txBody>
          <a:bodyPr wrap="square" lIns="0" tIns="0" rIns="0" bIns="0" rtlCol="0"/>
          <a:lstStyle/>
          <a:p>
            <a:endParaRPr sz="731"/>
          </a:p>
        </p:txBody>
      </p:sp>
      <p:sp>
        <p:nvSpPr>
          <p:cNvPr id="81" name="Freeform: Shape 80">
            <a:extLst>
              <a:ext uri="{FF2B5EF4-FFF2-40B4-BE49-F238E27FC236}">
                <a16:creationId xmlns:a16="http://schemas.microsoft.com/office/drawing/2014/main" id="{29DECAC8-71CB-465E-8692-A9FFA0221876}"/>
              </a:ext>
            </a:extLst>
          </p:cNvPr>
          <p:cNvSpPr/>
          <p:nvPr userDrawn="1"/>
        </p:nvSpPr>
        <p:spPr>
          <a:xfrm>
            <a:off x="1211814" y="5552611"/>
            <a:ext cx="216919" cy="266977"/>
          </a:xfrm>
          <a:custGeom>
            <a:avLst/>
            <a:gdLst>
              <a:gd name="connsiteX0" fmla="*/ 87075 w 355969"/>
              <a:gd name="connsiteY0" fmla="*/ 148918 h 355969"/>
              <a:gd name="connsiteX1" fmla="*/ 126655 w 355969"/>
              <a:gd name="connsiteY1" fmla="*/ 148918 h 355969"/>
              <a:gd name="connsiteX2" fmla="*/ 126655 w 355969"/>
              <a:gd name="connsiteY2" fmla="*/ 267657 h 355969"/>
              <a:gd name="connsiteX3" fmla="*/ 87075 w 355969"/>
              <a:gd name="connsiteY3" fmla="*/ 267657 h 355969"/>
              <a:gd name="connsiteX4" fmla="*/ 223377 w 355969"/>
              <a:gd name="connsiteY4" fmla="*/ 146196 h 355969"/>
              <a:gd name="connsiteX5" fmla="*/ 268893 w 355969"/>
              <a:gd name="connsiteY5" fmla="*/ 199628 h 355969"/>
              <a:gd name="connsiteX6" fmla="*/ 268893 w 355969"/>
              <a:gd name="connsiteY6" fmla="*/ 267903 h 355969"/>
              <a:gd name="connsiteX7" fmla="*/ 229314 w 355969"/>
              <a:gd name="connsiteY7" fmla="*/ 267903 h 355969"/>
              <a:gd name="connsiteX8" fmla="*/ 229314 w 355969"/>
              <a:gd name="connsiteY8" fmla="*/ 204328 h 355969"/>
              <a:gd name="connsiteX9" fmla="*/ 209277 w 355969"/>
              <a:gd name="connsiteY9" fmla="*/ 177365 h 355969"/>
              <a:gd name="connsiteX10" fmla="*/ 188992 w 355969"/>
              <a:gd name="connsiteY10" fmla="*/ 191712 h 355969"/>
              <a:gd name="connsiteX11" fmla="*/ 187755 w 355969"/>
              <a:gd name="connsiteY11" fmla="*/ 201360 h 355969"/>
              <a:gd name="connsiteX12" fmla="*/ 187755 w 355969"/>
              <a:gd name="connsiteY12" fmla="*/ 267656 h 355969"/>
              <a:gd name="connsiteX13" fmla="*/ 148423 w 355969"/>
              <a:gd name="connsiteY13" fmla="*/ 267656 h 355969"/>
              <a:gd name="connsiteX14" fmla="*/ 148423 w 355969"/>
              <a:gd name="connsiteY14" fmla="*/ 148917 h 355969"/>
              <a:gd name="connsiteX15" fmla="*/ 187755 w 355969"/>
              <a:gd name="connsiteY15" fmla="*/ 148917 h 355969"/>
              <a:gd name="connsiteX16" fmla="*/ 187755 w 355969"/>
              <a:gd name="connsiteY16" fmla="*/ 165738 h 355969"/>
              <a:gd name="connsiteX17" fmla="*/ 187508 w 355969"/>
              <a:gd name="connsiteY17" fmla="*/ 166233 h 355969"/>
              <a:gd name="connsiteX18" fmla="*/ 187755 w 355969"/>
              <a:gd name="connsiteY18" fmla="*/ 166233 h 355969"/>
              <a:gd name="connsiteX19" fmla="*/ 187755 w 355969"/>
              <a:gd name="connsiteY19" fmla="*/ 165738 h 355969"/>
              <a:gd name="connsiteX20" fmla="*/ 223377 w 355969"/>
              <a:gd name="connsiteY20" fmla="*/ 146196 h 355969"/>
              <a:gd name="connsiteX21" fmla="*/ 107360 w 355969"/>
              <a:gd name="connsiteY21" fmla="*/ 88311 h 355969"/>
              <a:gd name="connsiteX22" fmla="*/ 127644 w 355969"/>
              <a:gd name="connsiteY22" fmla="*/ 108596 h 355969"/>
              <a:gd name="connsiteX23" fmla="*/ 107360 w 355969"/>
              <a:gd name="connsiteY23" fmla="*/ 128880 h 355969"/>
              <a:gd name="connsiteX24" fmla="*/ 87075 w 355969"/>
              <a:gd name="connsiteY24" fmla="*/ 108596 h 355969"/>
              <a:gd name="connsiteX25" fmla="*/ 107360 w 355969"/>
              <a:gd name="connsiteY25" fmla="*/ 88311 h 355969"/>
              <a:gd name="connsiteX26" fmla="*/ 12369 w 355969"/>
              <a:gd name="connsiteY26" fmla="*/ 12369 h 355969"/>
              <a:gd name="connsiteX27" fmla="*/ 12369 w 355969"/>
              <a:gd name="connsiteY27" fmla="*/ 343600 h 355969"/>
              <a:gd name="connsiteX28" fmla="*/ 343600 w 355969"/>
              <a:gd name="connsiteY28" fmla="*/ 343600 h 355969"/>
              <a:gd name="connsiteX29" fmla="*/ 343600 w 355969"/>
              <a:gd name="connsiteY29" fmla="*/ 12369 h 355969"/>
              <a:gd name="connsiteX30" fmla="*/ 0 w 355969"/>
              <a:gd name="connsiteY30" fmla="*/ 0 h 355969"/>
              <a:gd name="connsiteX31" fmla="*/ 355969 w 355969"/>
              <a:gd name="connsiteY31" fmla="*/ 0 h 355969"/>
              <a:gd name="connsiteX32" fmla="*/ 355969 w 355969"/>
              <a:gd name="connsiteY32" fmla="*/ 355969 h 355969"/>
              <a:gd name="connsiteX33" fmla="*/ 0 w 355969"/>
              <a:gd name="connsiteY33"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5969" h="355969">
                <a:moveTo>
                  <a:pt x="87075" y="148918"/>
                </a:moveTo>
                <a:lnTo>
                  <a:pt x="126655" y="148918"/>
                </a:lnTo>
                <a:lnTo>
                  <a:pt x="126655" y="267657"/>
                </a:lnTo>
                <a:lnTo>
                  <a:pt x="87075" y="267657"/>
                </a:lnTo>
                <a:close/>
                <a:moveTo>
                  <a:pt x="223377" y="146196"/>
                </a:moveTo>
                <a:cubicBezTo>
                  <a:pt x="249351" y="146196"/>
                  <a:pt x="268893" y="163017"/>
                  <a:pt x="268893" y="199628"/>
                </a:cubicBezTo>
                <a:lnTo>
                  <a:pt x="268893" y="267903"/>
                </a:lnTo>
                <a:lnTo>
                  <a:pt x="229314" y="267903"/>
                </a:lnTo>
                <a:lnTo>
                  <a:pt x="229314" y="204328"/>
                </a:lnTo>
                <a:cubicBezTo>
                  <a:pt x="229314" y="188249"/>
                  <a:pt x="223624" y="177365"/>
                  <a:pt x="209277" y="177365"/>
                </a:cubicBezTo>
                <a:cubicBezTo>
                  <a:pt x="198392" y="177365"/>
                  <a:pt x="191961" y="184539"/>
                  <a:pt x="188992" y="191712"/>
                </a:cubicBezTo>
                <a:cubicBezTo>
                  <a:pt x="188003" y="194186"/>
                  <a:pt x="187755" y="197897"/>
                  <a:pt x="187755" y="201360"/>
                </a:cubicBezTo>
                <a:lnTo>
                  <a:pt x="187755" y="267656"/>
                </a:lnTo>
                <a:lnTo>
                  <a:pt x="148423" y="267656"/>
                </a:lnTo>
                <a:cubicBezTo>
                  <a:pt x="148423" y="267656"/>
                  <a:pt x="148918" y="160049"/>
                  <a:pt x="148423" y="148917"/>
                </a:cubicBezTo>
                <a:lnTo>
                  <a:pt x="187755" y="148917"/>
                </a:lnTo>
                <a:lnTo>
                  <a:pt x="187755" y="165738"/>
                </a:lnTo>
                <a:cubicBezTo>
                  <a:pt x="187755" y="165986"/>
                  <a:pt x="187508" y="165986"/>
                  <a:pt x="187508" y="166233"/>
                </a:cubicBezTo>
                <a:lnTo>
                  <a:pt x="187755" y="166233"/>
                </a:lnTo>
                <a:lnTo>
                  <a:pt x="187755" y="165738"/>
                </a:lnTo>
                <a:cubicBezTo>
                  <a:pt x="192950" y="157822"/>
                  <a:pt x="202350" y="146196"/>
                  <a:pt x="223377" y="146196"/>
                </a:cubicBezTo>
                <a:close/>
                <a:moveTo>
                  <a:pt x="107360" y="88311"/>
                </a:moveTo>
                <a:cubicBezTo>
                  <a:pt x="118491" y="88311"/>
                  <a:pt x="127644" y="97464"/>
                  <a:pt x="127644" y="108596"/>
                </a:cubicBezTo>
                <a:cubicBezTo>
                  <a:pt x="127644" y="119727"/>
                  <a:pt x="118491" y="128880"/>
                  <a:pt x="107360" y="128880"/>
                </a:cubicBezTo>
                <a:cubicBezTo>
                  <a:pt x="96228" y="128880"/>
                  <a:pt x="87075" y="119727"/>
                  <a:pt x="87075" y="108596"/>
                </a:cubicBezTo>
                <a:cubicBezTo>
                  <a:pt x="87075" y="97464"/>
                  <a:pt x="96228" y="88311"/>
                  <a:pt x="107360" y="88311"/>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2" name="Freeform: Shape 91">
            <a:extLst>
              <a:ext uri="{FF2B5EF4-FFF2-40B4-BE49-F238E27FC236}">
                <a16:creationId xmlns:a16="http://schemas.microsoft.com/office/drawing/2014/main" id="{F4B6AF33-E409-439A-A4AE-378CE2291372}"/>
              </a:ext>
            </a:extLst>
          </p:cNvPr>
          <p:cNvSpPr/>
          <p:nvPr userDrawn="1"/>
        </p:nvSpPr>
        <p:spPr>
          <a:xfrm>
            <a:off x="1539301" y="5552611"/>
            <a:ext cx="216919" cy="266977"/>
          </a:xfrm>
          <a:custGeom>
            <a:avLst/>
            <a:gdLst>
              <a:gd name="connsiteX0" fmla="*/ 157576 w 355969"/>
              <a:gd name="connsiteY0" fmla="*/ 135312 h 355969"/>
              <a:gd name="connsiteX1" fmla="*/ 157576 w 355969"/>
              <a:gd name="connsiteY1" fmla="*/ 212739 h 355969"/>
              <a:gd name="connsiteX2" fmla="*/ 216203 w 355969"/>
              <a:gd name="connsiteY2" fmla="*/ 173902 h 355969"/>
              <a:gd name="connsiteX3" fmla="*/ 106122 w 355969"/>
              <a:gd name="connsiteY3" fmla="*/ 106122 h 355969"/>
              <a:gd name="connsiteX4" fmla="*/ 249845 w 355969"/>
              <a:gd name="connsiteY4" fmla="*/ 106122 h 355969"/>
              <a:gd name="connsiteX5" fmla="*/ 280520 w 355969"/>
              <a:gd name="connsiteY5" fmla="*/ 136796 h 355969"/>
              <a:gd name="connsiteX6" fmla="*/ 280520 w 355969"/>
              <a:gd name="connsiteY6" fmla="*/ 219171 h 355969"/>
              <a:gd name="connsiteX7" fmla="*/ 249845 w 355969"/>
              <a:gd name="connsiteY7" fmla="*/ 249845 h 355969"/>
              <a:gd name="connsiteX8" fmla="*/ 106122 w 355969"/>
              <a:gd name="connsiteY8" fmla="*/ 249845 h 355969"/>
              <a:gd name="connsiteX9" fmla="*/ 75448 w 355969"/>
              <a:gd name="connsiteY9" fmla="*/ 219171 h 355969"/>
              <a:gd name="connsiteX10" fmla="*/ 75448 w 355969"/>
              <a:gd name="connsiteY10" fmla="*/ 136796 h 355969"/>
              <a:gd name="connsiteX11" fmla="*/ 106122 w 355969"/>
              <a:gd name="connsiteY11" fmla="*/ 106122 h 355969"/>
              <a:gd name="connsiteX12" fmla="*/ 12369 w 355969"/>
              <a:gd name="connsiteY12" fmla="*/ 12369 h 355969"/>
              <a:gd name="connsiteX13" fmla="*/ 12369 w 355969"/>
              <a:gd name="connsiteY13" fmla="*/ 343600 h 355969"/>
              <a:gd name="connsiteX14" fmla="*/ 343600 w 355969"/>
              <a:gd name="connsiteY14" fmla="*/ 343600 h 355969"/>
              <a:gd name="connsiteX15" fmla="*/ 343600 w 355969"/>
              <a:gd name="connsiteY15" fmla="*/ 12369 h 355969"/>
              <a:gd name="connsiteX16" fmla="*/ 0 w 355969"/>
              <a:gd name="connsiteY16" fmla="*/ 0 h 355969"/>
              <a:gd name="connsiteX17" fmla="*/ 355969 w 355969"/>
              <a:gd name="connsiteY17" fmla="*/ 0 h 355969"/>
              <a:gd name="connsiteX18" fmla="*/ 355969 w 355969"/>
              <a:gd name="connsiteY18" fmla="*/ 355969 h 355969"/>
              <a:gd name="connsiteX19" fmla="*/ 0 w 355969"/>
              <a:gd name="connsiteY19"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969" h="355969">
                <a:moveTo>
                  <a:pt x="157576" y="135312"/>
                </a:moveTo>
                <a:lnTo>
                  <a:pt x="157576" y="212739"/>
                </a:lnTo>
                <a:lnTo>
                  <a:pt x="216203" y="173902"/>
                </a:lnTo>
                <a:close/>
                <a:moveTo>
                  <a:pt x="106122" y="106122"/>
                </a:moveTo>
                <a:lnTo>
                  <a:pt x="249845" y="106122"/>
                </a:lnTo>
                <a:cubicBezTo>
                  <a:pt x="266914" y="106122"/>
                  <a:pt x="280520" y="119975"/>
                  <a:pt x="280520" y="136796"/>
                </a:cubicBezTo>
                <a:lnTo>
                  <a:pt x="280520" y="219171"/>
                </a:lnTo>
                <a:cubicBezTo>
                  <a:pt x="280520" y="235992"/>
                  <a:pt x="266667" y="249845"/>
                  <a:pt x="249845" y="249845"/>
                </a:cubicBezTo>
                <a:lnTo>
                  <a:pt x="106122" y="249845"/>
                </a:lnTo>
                <a:cubicBezTo>
                  <a:pt x="89053" y="249845"/>
                  <a:pt x="75448" y="235992"/>
                  <a:pt x="75448" y="219171"/>
                </a:cubicBezTo>
                <a:lnTo>
                  <a:pt x="75448" y="136796"/>
                </a:lnTo>
                <a:cubicBezTo>
                  <a:pt x="75448" y="119727"/>
                  <a:pt x="89301" y="106122"/>
                  <a:pt x="106122" y="106122"/>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91" name="Freeform: Shape 90">
            <a:extLst>
              <a:ext uri="{FF2B5EF4-FFF2-40B4-BE49-F238E27FC236}">
                <a16:creationId xmlns:a16="http://schemas.microsoft.com/office/drawing/2014/main" id="{8DAB5BBE-6303-447E-8EA1-1E3F10068624}"/>
              </a:ext>
            </a:extLst>
          </p:cNvPr>
          <p:cNvSpPr/>
          <p:nvPr userDrawn="1"/>
        </p:nvSpPr>
        <p:spPr>
          <a:xfrm>
            <a:off x="1866790" y="5552611"/>
            <a:ext cx="216919" cy="266977"/>
          </a:xfrm>
          <a:custGeom>
            <a:avLst/>
            <a:gdLst>
              <a:gd name="connsiteX0" fmla="*/ 177860 w 355969"/>
              <a:gd name="connsiteY0" fmla="*/ 141496 h 355969"/>
              <a:gd name="connsiteX1" fmla="*/ 141249 w 355969"/>
              <a:gd name="connsiteY1" fmla="*/ 178107 h 355969"/>
              <a:gd name="connsiteX2" fmla="*/ 177860 w 355969"/>
              <a:gd name="connsiteY2" fmla="*/ 214719 h 355969"/>
              <a:gd name="connsiteX3" fmla="*/ 214471 w 355969"/>
              <a:gd name="connsiteY3" fmla="*/ 178107 h 355969"/>
              <a:gd name="connsiteX4" fmla="*/ 177860 w 355969"/>
              <a:gd name="connsiteY4" fmla="*/ 141496 h 355969"/>
              <a:gd name="connsiteX5" fmla="*/ 177860 w 355969"/>
              <a:gd name="connsiteY5" fmla="*/ 121954 h 355969"/>
              <a:gd name="connsiteX6" fmla="*/ 233766 w 355969"/>
              <a:gd name="connsiteY6" fmla="*/ 178107 h 355969"/>
              <a:gd name="connsiteX7" fmla="*/ 177860 w 355969"/>
              <a:gd name="connsiteY7" fmla="*/ 234014 h 355969"/>
              <a:gd name="connsiteX8" fmla="*/ 121954 w 355969"/>
              <a:gd name="connsiteY8" fmla="*/ 177860 h 355969"/>
              <a:gd name="connsiteX9" fmla="*/ 177860 w 355969"/>
              <a:gd name="connsiteY9" fmla="*/ 121954 h 355969"/>
              <a:gd name="connsiteX10" fmla="*/ 235993 w 355969"/>
              <a:gd name="connsiteY10" fmla="*/ 107359 h 355969"/>
              <a:gd name="connsiteX11" fmla="*/ 248609 w 355969"/>
              <a:gd name="connsiteY11" fmla="*/ 119975 h 355969"/>
              <a:gd name="connsiteX12" fmla="*/ 235993 w 355969"/>
              <a:gd name="connsiteY12" fmla="*/ 132591 h 355969"/>
              <a:gd name="connsiteX13" fmla="*/ 223377 w 355969"/>
              <a:gd name="connsiteY13" fmla="*/ 119975 h 355969"/>
              <a:gd name="connsiteX14" fmla="*/ 235993 w 355969"/>
              <a:gd name="connsiteY14" fmla="*/ 107359 h 355969"/>
              <a:gd name="connsiteX15" fmla="*/ 130364 w 355969"/>
              <a:gd name="connsiteY15" fmla="*/ 89053 h 355969"/>
              <a:gd name="connsiteX16" fmla="*/ 88806 w 355969"/>
              <a:gd name="connsiteY16" fmla="*/ 130612 h 355969"/>
              <a:gd name="connsiteX17" fmla="*/ 89053 w 355969"/>
              <a:gd name="connsiteY17" fmla="*/ 130612 h 355969"/>
              <a:gd name="connsiteX18" fmla="*/ 89053 w 355969"/>
              <a:gd name="connsiteY18" fmla="*/ 225355 h 355969"/>
              <a:gd name="connsiteX19" fmla="*/ 130612 w 355969"/>
              <a:gd name="connsiteY19" fmla="*/ 266914 h 355969"/>
              <a:gd name="connsiteX20" fmla="*/ 225108 w 355969"/>
              <a:gd name="connsiteY20" fmla="*/ 266914 h 355969"/>
              <a:gd name="connsiteX21" fmla="*/ 266666 w 355969"/>
              <a:gd name="connsiteY21" fmla="*/ 225355 h 355969"/>
              <a:gd name="connsiteX22" fmla="*/ 266666 w 355969"/>
              <a:gd name="connsiteY22" fmla="*/ 130612 h 355969"/>
              <a:gd name="connsiteX23" fmla="*/ 225108 w 355969"/>
              <a:gd name="connsiteY23" fmla="*/ 89053 h 355969"/>
              <a:gd name="connsiteX24" fmla="*/ 130364 w 355969"/>
              <a:gd name="connsiteY24" fmla="*/ 71737 h 355969"/>
              <a:gd name="connsiteX25" fmla="*/ 225603 w 355969"/>
              <a:gd name="connsiteY25" fmla="*/ 71737 h 355969"/>
              <a:gd name="connsiteX26" fmla="*/ 284230 w 355969"/>
              <a:gd name="connsiteY26" fmla="*/ 130364 h 355969"/>
              <a:gd name="connsiteX27" fmla="*/ 284230 w 355969"/>
              <a:gd name="connsiteY27" fmla="*/ 225603 h 355969"/>
              <a:gd name="connsiteX28" fmla="*/ 225603 w 355969"/>
              <a:gd name="connsiteY28" fmla="*/ 284230 h 355969"/>
              <a:gd name="connsiteX29" fmla="*/ 130364 w 355969"/>
              <a:gd name="connsiteY29" fmla="*/ 284230 h 355969"/>
              <a:gd name="connsiteX30" fmla="*/ 71737 w 355969"/>
              <a:gd name="connsiteY30" fmla="*/ 225603 h 355969"/>
              <a:gd name="connsiteX31" fmla="*/ 71737 w 355969"/>
              <a:gd name="connsiteY31" fmla="*/ 130364 h 355969"/>
              <a:gd name="connsiteX32" fmla="*/ 130364 w 355969"/>
              <a:gd name="connsiteY32" fmla="*/ 71737 h 355969"/>
              <a:gd name="connsiteX33" fmla="*/ 12369 w 355969"/>
              <a:gd name="connsiteY33" fmla="*/ 12369 h 355969"/>
              <a:gd name="connsiteX34" fmla="*/ 12369 w 355969"/>
              <a:gd name="connsiteY34" fmla="*/ 343600 h 355969"/>
              <a:gd name="connsiteX35" fmla="*/ 343600 w 355969"/>
              <a:gd name="connsiteY35" fmla="*/ 343600 h 355969"/>
              <a:gd name="connsiteX36" fmla="*/ 343600 w 355969"/>
              <a:gd name="connsiteY36" fmla="*/ 12369 h 355969"/>
              <a:gd name="connsiteX37" fmla="*/ 0 w 355969"/>
              <a:gd name="connsiteY37" fmla="*/ 0 h 355969"/>
              <a:gd name="connsiteX38" fmla="*/ 355969 w 355969"/>
              <a:gd name="connsiteY38" fmla="*/ 0 h 355969"/>
              <a:gd name="connsiteX39" fmla="*/ 355969 w 355969"/>
              <a:gd name="connsiteY39" fmla="*/ 355969 h 355969"/>
              <a:gd name="connsiteX40" fmla="*/ 0 w 355969"/>
              <a:gd name="connsiteY40" fmla="*/ 355969 h 35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5969" h="355969">
                <a:moveTo>
                  <a:pt x="177860" y="141496"/>
                </a:moveTo>
                <a:cubicBezTo>
                  <a:pt x="157823" y="141496"/>
                  <a:pt x="141496" y="157823"/>
                  <a:pt x="141249" y="178107"/>
                </a:cubicBezTo>
                <a:cubicBezTo>
                  <a:pt x="141249" y="198392"/>
                  <a:pt x="157576" y="214719"/>
                  <a:pt x="177860" y="214719"/>
                </a:cubicBezTo>
                <a:cubicBezTo>
                  <a:pt x="198145" y="214719"/>
                  <a:pt x="214471" y="198392"/>
                  <a:pt x="214471" y="178107"/>
                </a:cubicBezTo>
                <a:cubicBezTo>
                  <a:pt x="214471" y="157823"/>
                  <a:pt x="198145" y="141496"/>
                  <a:pt x="177860" y="141496"/>
                </a:cubicBezTo>
                <a:close/>
                <a:moveTo>
                  <a:pt x="177860" y="121954"/>
                </a:moveTo>
                <a:cubicBezTo>
                  <a:pt x="209029" y="121954"/>
                  <a:pt x="233766" y="147186"/>
                  <a:pt x="233766" y="178107"/>
                </a:cubicBezTo>
                <a:cubicBezTo>
                  <a:pt x="233766" y="209029"/>
                  <a:pt x="208782" y="234014"/>
                  <a:pt x="177860" y="234014"/>
                </a:cubicBezTo>
                <a:cubicBezTo>
                  <a:pt x="146939" y="234014"/>
                  <a:pt x="121954" y="208782"/>
                  <a:pt x="121954" y="177860"/>
                </a:cubicBezTo>
                <a:cubicBezTo>
                  <a:pt x="121954" y="146939"/>
                  <a:pt x="146939" y="121954"/>
                  <a:pt x="177860" y="121954"/>
                </a:cubicBezTo>
                <a:close/>
                <a:moveTo>
                  <a:pt x="235993" y="107359"/>
                </a:moveTo>
                <a:cubicBezTo>
                  <a:pt x="242919" y="107359"/>
                  <a:pt x="248609" y="113049"/>
                  <a:pt x="248609" y="119975"/>
                </a:cubicBezTo>
                <a:cubicBezTo>
                  <a:pt x="248609" y="126901"/>
                  <a:pt x="242919" y="132591"/>
                  <a:pt x="235993" y="132591"/>
                </a:cubicBezTo>
                <a:cubicBezTo>
                  <a:pt x="229067" y="132591"/>
                  <a:pt x="223377" y="126901"/>
                  <a:pt x="223377" y="119975"/>
                </a:cubicBezTo>
                <a:cubicBezTo>
                  <a:pt x="223377" y="113049"/>
                  <a:pt x="229067" y="107359"/>
                  <a:pt x="235993" y="107359"/>
                </a:cubicBezTo>
                <a:close/>
                <a:moveTo>
                  <a:pt x="130364" y="89053"/>
                </a:moveTo>
                <a:cubicBezTo>
                  <a:pt x="107359" y="89053"/>
                  <a:pt x="88806" y="107606"/>
                  <a:pt x="88806" y="130612"/>
                </a:cubicBezTo>
                <a:lnTo>
                  <a:pt x="89053" y="130612"/>
                </a:lnTo>
                <a:lnTo>
                  <a:pt x="89053" y="225355"/>
                </a:lnTo>
                <a:cubicBezTo>
                  <a:pt x="89053" y="248361"/>
                  <a:pt x="107606" y="266914"/>
                  <a:pt x="130612" y="266914"/>
                </a:cubicBezTo>
                <a:lnTo>
                  <a:pt x="225108" y="266914"/>
                </a:lnTo>
                <a:cubicBezTo>
                  <a:pt x="248113" y="266914"/>
                  <a:pt x="266666" y="248361"/>
                  <a:pt x="266666" y="225355"/>
                </a:cubicBezTo>
                <a:lnTo>
                  <a:pt x="266666" y="130612"/>
                </a:lnTo>
                <a:cubicBezTo>
                  <a:pt x="266666" y="107606"/>
                  <a:pt x="248113" y="89053"/>
                  <a:pt x="225108" y="89053"/>
                </a:cubicBezTo>
                <a:close/>
                <a:moveTo>
                  <a:pt x="130364" y="71737"/>
                </a:moveTo>
                <a:lnTo>
                  <a:pt x="225603" y="71737"/>
                </a:lnTo>
                <a:cubicBezTo>
                  <a:pt x="258008" y="71737"/>
                  <a:pt x="284230" y="97958"/>
                  <a:pt x="284230" y="130364"/>
                </a:cubicBezTo>
                <a:lnTo>
                  <a:pt x="284230" y="225603"/>
                </a:lnTo>
                <a:cubicBezTo>
                  <a:pt x="284230" y="258008"/>
                  <a:pt x="258008" y="284230"/>
                  <a:pt x="225603" y="284230"/>
                </a:cubicBezTo>
                <a:lnTo>
                  <a:pt x="130364" y="284230"/>
                </a:lnTo>
                <a:cubicBezTo>
                  <a:pt x="97958" y="284230"/>
                  <a:pt x="71737" y="258008"/>
                  <a:pt x="71737" y="225603"/>
                </a:cubicBezTo>
                <a:lnTo>
                  <a:pt x="71737" y="130364"/>
                </a:lnTo>
                <a:cubicBezTo>
                  <a:pt x="71737" y="97958"/>
                  <a:pt x="97958" y="71737"/>
                  <a:pt x="130364" y="71737"/>
                </a:cubicBezTo>
                <a:close/>
                <a:moveTo>
                  <a:pt x="12369" y="12369"/>
                </a:moveTo>
                <a:lnTo>
                  <a:pt x="12369" y="343600"/>
                </a:lnTo>
                <a:lnTo>
                  <a:pt x="343600" y="343600"/>
                </a:lnTo>
                <a:lnTo>
                  <a:pt x="343600" y="12369"/>
                </a:lnTo>
                <a:close/>
                <a:moveTo>
                  <a:pt x="0" y="0"/>
                </a:moveTo>
                <a:lnTo>
                  <a:pt x="355969" y="0"/>
                </a:lnTo>
                <a:lnTo>
                  <a:pt x="355969" y="355969"/>
                </a:lnTo>
                <a:lnTo>
                  <a:pt x="0" y="355969"/>
                </a:lnTo>
                <a:close/>
              </a:path>
            </a:pathLst>
          </a:custGeom>
          <a:solidFill>
            <a:schemeClr val="bg1"/>
          </a:solidFill>
          <a:ln w="2447" cap="flat">
            <a:noFill/>
            <a:prstDash val="solid"/>
            <a:miter/>
          </a:ln>
        </p:spPr>
        <p:txBody>
          <a:bodyPr rtlCol="0" anchor="ctr"/>
          <a:lstStyle/>
          <a:p>
            <a:endParaRPr lang="en-US" sz="731"/>
          </a:p>
        </p:txBody>
      </p:sp>
      <p:sp>
        <p:nvSpPr>
          <p:cNvPr id="17" name="object 5">
            <a:extLst>
              <a:ext uri="{FF2B5EF4-FFF2-40B4-BE49-F238E27FC236}">
                <a16:creationId xmlns:a16="http://schemas.microsoft.com/office/drawing/2014/main" id="{FBBE171D-EA4E-452C-8EBE-60BD260840FF}"/>
              </a:ext>
            </a:extLst>
          </p:cNvPr>
          <p:cNvSpPr/>
          <p:nvPr userDrawn="1"/>
        </p:nvSpPr>
        <p:spPr>
          <a:xfrm>
            <a:off x="7677150" y="34290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005473"/>
          </a:solidFill>
        </p:spPr>
        <p:txBody>
          <a:bodyPr wrap="square" lIns="0" tIns="0" rIns="0" bIns="0" rtlCol="0"/>
          <a:lstStyle/>
          <a:p>
            <a:endParaRPr sz="731"/>
          </a:p>
        </p:txBody>
      </p:sp>
      <p:sp>
        <p:nvSpPr>
          <p:cNvPr id="18" name="object 13">
            <a:extLst>
              <a:ext uri="{FF2B5EF4-FFF2-40B4-BE49-F238E27FC236}">
                <a16:creationId xmlns:a16="http://schemas.microsoft.com/office/drawing/2014/main" id="{609C26D4-87EE-42AD-8338-D5EE327E9EA9}"/>
              </a:ext>
            </a:extLst>
          </p:cNvPr>
          <p:cNvSpPr txBox="1"/>
          <p:nvPr userDrawn="1"/>
        </p:nvSpPr>
        <p:spPr>
          <a:xfrm>
            <a:off x="3645098" y="3895726"/>
            <a:ext cx="1245989" cy="214153"/>
          </a:xfrm>
          <a:prstGeom prst="rect">
            <a:avLst/>
          </a:prstGeom>
        </p:spPr>
        <p:txBody>
          <a:bodyPr vert="horz" wrap="square" lIns="0" tIns="7739" rIns="0" bIns="0" rtlCol="0">
            <a:spAutoFit/>
          </a:bodyPr>
          <a:lstStyle/>
          <a:p>
            <a:pPr marL="7739" algn="r">
              <a:lnSpc>
                <a:spcPct val="100000"/>
              </a:lnSpc>
              <a:spcBef>
                <a:spcPts val="61"/>
              </a:spcBef>
            </a:pPr>
            <a:r>
              <a:rPr sz="1341" b="1" dirty="0">
                <a:solidFill>
                  <a:srgbClr val="EF4641"/>
                </a:solidFill>
                <a:latin typeface="Verdana" panose="020B0604030504040204" pitchFamily="34" charset="0"/>
                <a:cs typeface="Poppins ExtraBold"/>
              </a:rPr>
              <a:t>inetum.</a:t>
            </a:r>
            <a:r>
              <a:rPr lang="fr-FR" sz="1341" b="1" dirty="0">
                <a:solidFill>
                  <a:srgbClr val="EF4641"/>
                </a:solidFill>
                <a:latin typeface="Verdana" panose="020B0604030504040204" pitchFamily="34" charset="0"/>
                <a:cs typeface="Poppins ExtraBold"/>
              </a:rPr>
              <a:t>com</a:t>
            </a:r>
            <a:endParaRPr sz="1341" dirty="0">
              <a:latin typeface="Verdana" panose="020B0604030504040204" pitchFamily="34" charset="0"/>
              <a:cs typeface="Poppins ExtraBold"/>
            </a:endParaRPr>
          </a:p>
        </p:txBody>
      </p:sp>
      <p:sp>
        <p:nvSpPr>
          <p:cNvPr id="19" name="object 29">
            <a:extLst>
              <a:ext uri="{FF2B5EF4-FFF2-40B4-BE49-F238E27FC236}">
                <a16:creationId xmlns:a16="http://schemas.microsoft.com/office/drawing/2014/main" id="{6F3CD315-706A-434B-868F-34214EBB8D8B}"/>
              </a:ext>
            </a:extLst>
          </p:cNvPr>
          <p:cNvSpPr txBox="1"/>
          <p:nvPr userDrawn="1"/>
        </p:nvSpPr>
        <p:spPr>
          <a:xfrm>
            <a:off x="549473" y="4791073"/>
            <a:ext cx="4960739" cy="538691"/>
          </a:xfrm>
          <a:prstGeom prst="rect">
            <a:avLst/>
          </a:prstGeom>
        </p:spPr>
        <p:txBody>
          <a:bodyPr vert="horz" wrap="square" lIns="0" tIns="13543" rIns="0" bIns="0" rtlCol="0">
            <a:spAutoFit/>
          </a:bodyPr>
          <a:lstStyle/>
          <a:p>
            <a:pPr marL="8126" marR="3096" indent="-774" algn="just">
              <a:lnSpc>
                <a:spcPct val="100000"/>
              </a:lnSpc>
              <a:spcBef>
                <a:spcPts val="107"/>
              </a:spcBef>
            </a:pPr>
            <a:r>
              <a:rPr sz="853" spc="6" dirty="0">
                <a:solidFill>
                  <a:srgbClr val="00AC9C"/>
                </a:solidFill>
                <a:latin typeface="Verdana" panose="020B0604030504040204" pitchFamily="34" charset="0"/>
                <a:cs typeface="Poppins"/>
              </a:rPr>
              <a:t>FRANCE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ESPAGN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PORTUGAL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BELGI</a:t>
            </a:r>
            <a:r>
              <a:rPr lang="fr-FR" sz="853" spc="6" dirty="0">
                <a:solidFill>
                  <a:srgbClr val="00AC9C"/>
                </a:solidFill>
                <a:latin typeface="Verdana" panose="020B0604030504040204" pitchFamily="34" charset="0"/>
                <a:cs typeface="Poppins"/>
              </a:rPr>
              <a:t>QU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SUISS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6" dirty="0">
                <a:solidFill>
                  <a:srgbClr val="00AC9C"/>
                </a:solidFill>
                <a:latin typeface="Verdana" panose="020B0604030504040204" pitchFamily="34" charset="0"/>
                <a:cs typeface="Poppins"/>
              </a:rPr>
              <a:t>LUXEMBOURG </a:t>
            </a:r>
            <a:r>
              <a:rPr sz="853" dirty="0">
                <a:solidFill>
                  <a:srgbClr val="00AC9C"/>
                </a:solidFill>
                <a:latin typeface="Verdana" panose="020B0604030504040204" pitchFamily="34" charset="0"/>
                <a:cs typeface="Poppins"/>
              </a:rPr>
              <a:t>| </a:t>
            </a:r>
            <a:r>
              <a:rPr lang="fr-FR" sz="853" spc="6" dirty="0">
                <a:solidFill>
                  <a:srgbClr val="00AC9C"/>
                </a:solidFill>
                <a:latin typeface="Verdana" panose="020B0604030504040204" pitchFamily="34" charset="0"/>
                <a:cs typeface="Poppins"/>
              </a:rPr>
              <a:t>ANGLETERRE</a:t>
            </a:r>
            <a:r>
              <a:rPr sz="853" spc="6"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OL</a:t>
            </a:r>
            <a:r>
              <a:rPr lang="fr-FR" sz="853" spc="15" dirty="0">
                <a:solidFill>
                  <a:srgbClr val="00AC9C"/>
                </a:solidFill>
                <a:latin typeface="Verdana" panose="020B0604030504040204" pitchFamily="34" charset="0"/>
                <a:cs typeface="Poppins"/>
              </a:rPr>
              <a:t>OG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MAN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a:t>
            </a:r>
            <a:r>
              <a:rPr lang="fr-FR" sz="853" spc="15" dirty="0">
                <a:solidFill>
                  <a:srgbClr val="00AC9C"/>
                </a:solidFill>
                <a:latin typeface="Verdana" panose="020B0604030504040204" pitchFamily="34" charset="0"/>
                <a:cs typeface="Poppins"/>
              </a:rPr>
              <a:t>AROC</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TUNIS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N</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GAL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ÔTE </a:t>
            </a:r>
            <a:r>
              <a:rPr sz="853" spc="15" dirty="0">
                <a:solidFill>
                  <a:srgbClr val="00AC9C"/>
                </a:solidFill>
                <a:latin typeface="Verdana" panose="020B0604030504040204" pitchFamily="34" charset="0"/>
                <a:cs typeface="Poppins"/>
              </a:rPr>
              <a:t>D’IVOIRE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NGOL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AMERO</a:t>
            </a:r>
            <a:r>
              <a:rPr lang="fr-FR" sz="853" spc="15" dirty="0">
                <a:solidFill>
                  <a:srgbClr val="00AC9C"/>
                </a:solidFill>
                <a:latin typeface="Verdana" panose="020B0604030504040204" pitchFamily="34" charset="0"/>
                <a:cs typeface="Poppins"/>
              </a:rPr>
              <a:t>U</a:t>
            </a:r>
            <a:r>
              <a:rPr sz="853" spc="15" dirty="0">
                <a:solidFill>
                  <a:srgbClr val="00AC9C"/>
                </a:solidFill>
                <a:latin typeface="Verdana" panose="020B0604030504040204" pitchFamily="34" charset="0"/>
                <a:cs typeface="Poppins"/>
              </a:rPr>
              <a:t>N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US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BR</a:t>
            </a:r>
            <a:r>
              <a:rPr lang="fr-FR" sz="853" spc="15" dirty="0">
                <a:solidFill>
                  <a:srgbClr val="00AC9C"/>
                </a:solidFill>
                <a:latin typeface="Verdana" panose="020B0604030504040204" pitchFamily="34" charset="0"/>
                <a:cs typeface="Poppins"/>
              </a:rPr>
              <a:t>ÉS</a:t>
            </a:r>
            <a:r>
              <a:rPr sz="853" spc="15" dirty="0">
                <a:solidFill>
                  <a:srgbClr val="00AC9C"/>
                </a:solidFill>
                <a:latin typeface="Verdana" panose="020B0604030504040204" pitchFamily="34" charset="0"/>
                <a:cs typeface="Poppins"/>
              </a:rPr>
              <a:t>IL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COLOMBI</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MEXI</a:t>
            </a:r>
            <a:r>
              <a:rPr lang="fr-FR" sz="853" spc="15" dirty="0">
                <a:solidFill>
                  <a:srgbClr val="00AC9C"/>
                </a:solidFill>
                <a:latin typeface="Verdana" panose="020B0604030504040204" pitchFamily="34" charset="0"/>
                <a:cs typeface="Poppins"/>
              </a:rPr>
              <a:t>QU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9" dirty="0">
                <a:solidFill>
                  <a:srgbClr val="00AC9C"/>
                </a:solidFill>
                <a:latin typeface="Verdana" panose="020B0604030504040204" pitchFamily="34" charset="0"/>
                <a:cs typeface="Poppins"/>
              </a:rPr>
              <a:t>RP </a:t>
            </a:r>
            <a:r>
              <a:rPr lang="fr-FR" sz="853" spc="9" dirty="0">
                <a:solidFill>
                  <a:srgbClr val="00AC9C"/>
                </a:solidFill>
                <a:latin typeface="Verdana" panose="020B0604030504040204" pitchFamily="34" charset="0"/>
                <a:cs typeface="Poppins"/>
              </a:rPr>
              <a:t>DU</a:t>
            </a:r>
            <a:r>
              <a:rPr sz="853" spc="9"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PANAMA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P</a:t>
            </a:r>
            <a:r>
              <a:rPr lang="fr-FR" sz="853" spc="12" dirty="0">
                <a:solidFill>
                  <a:srgbClr val="00AC9C"/>
                </a:solidFill>
                <a:latin typeface="Verdana" panose="020B0604030504040204" pitchFamily="34" charset="0"/>
                <a:cs typeface="Poppins"/>
              </a:rPr>
              <a:t>É</a:t>
            </a:r>
            <a:r>
              <a:rPr sz="853" spc="12" dirty="0">
                <a:solidFill>
                  <a:srgbClr val="00AC9C"/>
                </a:solidFill>
                <a:latin typeface="Verdana" panose="020B0604030504040204" pitchFamily="34" charset="0"/>
                <a:cs typeface="Poppins"/>
              </a:rPr>
              <a:t>R</a:t>
            </a:r>
            <a:r>
              <a:rPr lang="fr-FR" sz="853" spc="12" dirty="0">
                <a:solidFill>
                  <a:srgbClr val="00AC9C"/>
                </a:solidFill>
                <a:latin typeface="Verdana" panose="020B0604030504040204" pitchFamily="34" charset="0"/>
                <a:cs typeface="Poppins"/>
              </a:rPr>
              <a:t>O</a:t>
            </a:r>
            <a:r>
              <a:rPr sz="853" spc="12" dirty="0">
                <a:solidFill>
                  <a:srgbClr val="00AC9C"/>
                </a:solidFill>
                <a:latin typeface="Verdana" panose="020B0604030504040204" pitchFamily="34" charset="0"/>
                <a:cs typeface="Poppins"/>
              </a:rPr>
              <a:t>U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HILI </a:t>
            </a:r>
            <a:r>
              <a:rPr sz="853" dirty="0">
                <a:solidFill>
                  <a:srgbClr val="00AC9C"/>
                </a:solidFill>
                <a:latin typeface="Verdana" panose="020B0604030504040204" pitchFamily="34" charset="0"/>
                <a:cs typeface="Poppins"/>
              </a:rPr>
              <a:t>|  </a:t>
            </a:r>
            <a:r>
              <a:rPr sz="853" spc="12" dirty="0">
                <a:solidFill>
                  <a:srgbClr val="00AC9C"/>
                </a:solidFill>
                <a:latin typeface="Verdana" panose="020B0604030504040204" pitchFamily="34" charset="0"/>
                <a:cs typeface="Poppins"/>
              </a:rPr>
              <a:t>COSTA RICA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R</a:t>
            </a:r>
            <a:r>
              <a:rPr lang="fr-FR" sz="853" spc="15" dirty="0">
                <a:solidFill>
                  <a:srgbClr val="00AC9C"/>
                </a:solidFill>
                <a:latin typeface="Verdana" panose="020B0604030504040204" pitchFamily="34" charset="0"/>
                <a:cs typeface="Poppins"/>
              </a:rPr>
              <a:t>É</a:t>
            </a:r>
            <a:r>
              <a:rPr sz="853" spc="15" dirty="0">
                <a:solidFill>
                  <a:srgbClr val="00AC9C"/>
                </a:solidFill>
                <a:latin typeface="Verdana" panose="020B0604030504040204" pitchFamily="34" charset="0"/>
                <a:cs typeface="Poppins"/>
              </a:rPr>
              <a:t>PUBLI</a:t>
            </a:r>
            <a:r>
              <a:rPr lang="fr-FR" sz="853" spc="15" dirty="0">
                <a:solidFill>
                  <a:srgbClr val="00AC9C"/>
                </a:solidFill>
                <a:latin typeface="Verdana" panose="020B0604030504040204" pitchFamily="34" charset="0"/>
                <a:cs typeface="Poppins"/>
              </a:rPr>
              <a:t>QUE DOMINICAIN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ARGENTIN</a:t>
            </a:r>
            <a:r>
              <a:rPr lang="fr-FR" sz="853" spc="15" dirty="0">
                <a:solidFill>
                  <a:srgbClr val="00AC9C"/>
                </a:solidFill>
                <a:latin typeface="Verdana" panose="020B0604030504040204" pitchFamily="34" charset="0"/>
                <a:cs typeface="Poppins"/>
              </a:rPr>
              <a:t>E</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 </a:t>
            </a:r>
            <a:r>
              <a:rPr sz="853" spc="15" dirty="0">
                <a:solidFill>
                  <a:srgbClr val="00AC9C"/>
                </a:solidFill>
                <a:latin typeface="Verdana" panose="020B0604030504040204" pitchFamily="34" charset="0"/>
                <a:cs typeface="Poppins"/>
              </a:rPr>
              <a:t>SINGAPO</a:t>
            </a:r>
            <a:r>
              <a:rPr lang="fr-FR" sz="853" spc="15" dirty="0">
                <a:solidFill>
                  <a:srgbClr val="00AC9C"/>
                </a:solidFill>
                <a:latin typeface="Verdana" panose="020B0604030504040204" pitchFamily="34" charset="0"/>
                <a:cs typeface="Poppins"/>
              </a:rPr>
              <a:t>UR</a:t>
            </a:r>
            <a:r>
              <a:rPr sz="853" spc="15" dirty="0">
                <a:solidFill>
                  <a:srgbClr val="00AC9C"/>
                </a:solidFill>
                <a:latin typeface="Verdana" panose="020B0604030504040204" pitchFamily="34" charset="0"/>
                <a:cs typeface="Poppins"/>
              </a:rPr>
              <a:t> </a:t>
            </a:r>
            <a:r>
              <a:rPr sz="853" dirty="0">
                <a:solidFill>
                  <a:srgbClr val="00AC9C"/>
                </a:solidFill>
                <a:latin typeface="Verdana" panose="020B0604030504040204" pitchFamily="34" charset="0"/>
                <a:cs typeface="Poppins"/>
              </a:rPr>
              <a:t>|</a:t>
            </a:r>
            <a:r>
              <a:rPr sz="853" spc="61" dirty="0">
                <a:solidFill>
                  <a:srgbClr val="00AC9C"/>
                </a:solidFill>
                <a:latin typeface="Verdana" panose="020B0604030504040204" pitchFamily="34" charset="0"/>
                <a:cs typeface="Poppins"/>
              </a:rPr>
              <a:t> </a:t>
            </a:r>
            <a:r>
              <a:rPr lang="fr-FR" sz="853" spc="18" dirty="0">
                <a:solidFill>
                  <a:srgbClr val="00AC9C"/>
                </a:solidFill>
                <a:latin typeface="Verdana" panose="020B0604030504040204" pitchFamily="34" charset="0"/>
                <a:cs typeface="Poppins"/>
              </a:rPr>
              <a:t>E.A.U</a:t>
            </a:r>
            <a:endParaRPr sz="853" dirty="0">
              <a:latin typeface="Verdana" panose="020B0604030504040204" pitchFamily="34" charset="0"/>
              <a:cs typeface="Poppins"/>
            </a:endParaRPr>
          </a:p>
        </p:txBody>
      </p:sp>
    </p:spTree>
    <p:extLst>
      <p:ext uri="{BB962C8B-B14F-4D97-AF65-F5344CB8AC3E}">
        <p14:creationId xmlns:p14="http://schemas.microsoft.com/office/powerpoint/2010/main" val="4193309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10" Type="http://schemas.openxmlformats.org/officeDocument/2006/relationships/theme" Target="../theme/theme5.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398553" y="98195"/>
            <a:ext cx="5835600" cy="306000"/>
          </a:xfrm>
          <a:prstGeom prst="rect">
            <a:avLst/>
          </a:prstGeom>
        </p:spPr>
        <p:txBody>
          <a:bodyPr vert="horz" lIns="91440" tIns="45720" rIns="91440" bIns="45720" rtlCol="0" anchor="b"/>
          <a:lstStyle>
            <a:lvl1pPr algn="r">
              <a:defRPr sz="900">
                <a:solidFill>
                  <a:schemeClr val="tx1">
                    <a:tint val="75000"/>
                  </a:schemeClr>
                </a:solidFill>
              </a:defRPr>
            </a:lvl1pPr>
          </a:lstStyle>
          <a:p>
            <a:endParaRPr lang="fr-FR"/>
          </a:p>
        </p:txBody>
      </p:sp>
      <p:sp>
        <p:nvSpPr>
          <p:cNvPr id="2" name="Title Placeholder 1"/>
          <p:cNvSpPr>
            <a:spLocks noGrp="1"/>
          </p:cNvSpPr>
          <p:nvPr>
            <p:ph type="title"/>
          </p:nvPr>
        </p:nvSpPr>
        <p:spPr>
          <a:xfrm>
            <a:off x="619432" y="420330"/>
            <a:ext cx="8614721" cy="685800"/>
          </a:xfrm>
          <a:prstGeom prst="rect">
            <a:avLst/>
          </a:prstGeom>
        </p:spPr>
        <p:txBody>
          <a:bodyPr vert="horz" lIns="0" tIns="45720" rIns="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619432" y="1248355"/>
            <a:ext cx="8614721" cy="5227749"/>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3403105" y="100575"/>
            <a:ext cx="5831048" cy="115200"/>
          </a:xfrm>
          <a:prstGeom prst="rect">
            <a:avLst/>
          </a:prstGeom>
        </p:spPr>
        <p:txBody>
          <a:bodyPr vert="horz" lIns="91440" tIns="45720" rIns="91440" bIns="45720" rtlCol="0" anchor="ctr"/>
          <a:lstStyle>
            <a:lvl1pPr algn="r">
              <a:defRPr sz="8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9266747" y="0"/>
            <a:ext cx="342000" cy="399600"/>
          </a:xfrm>
          <a:prstGeom prst="rect">
            <a:avLst/>
          </a:prstGeom>
          <a:solidFill>
            <a:schemeClr val="accent1"/>
          </a:solidFill>
        </p:spPr>
        <p:txBody>
          <a:bodyPr vert="horz" lIns="0" tIns="45720" rIns="0" bIns="45720" rtlCol="0" anchor="ctr"/>
          <a:lstStyle>
            <a:lvl1pPr algn="ctr">
              <a:defRPr sz="1000">
                <a:solidFill>
                  <a:schemeClr val="bg1"/>
                </a:solidFill>
              </a:defRPr>
            </a:lvl1pPr>
          </a:lstStyle>
          <a:p>
            <a:fld id="{95D1AE67-A6AF-4140-9B54-D4B451EC2AAF}" type="slidenum">
              <a:rPr lang="fr-FR" smtClean="0"/>
              <a:pPr/>
              <a:t>‹N°›</a:t>
            </a:fld>
            <a:endParaRPr lang="fr-FR"/>
          </a:p>
        </p:txBody>
      </p:sp>
      <p:sp>
        <p:nvSpPr>
          <p:cNvPr id="14" name="TextBox 11"/>
          <p:cNvSpPr txBox="1"/>
          <p:nvPr/>
        </p:nvSpPr>
        <p:spPr>
          <a:xfrm>
            <a:off x="0" y="6741368"/>
            <a:ext cx="9906000" cy="116632"/>
          </a:xfrm>
          <a:prstGeom prst="rect">
            <a:avLst/>
          </a:prstGeom>
          <a:gradFill flip="none" rotWithShape="1">
            <a:gsLst>
              <a:gs pos="0">
                <a:schemeClr val="accent6"/>
              </a:gs>
              <a:gs pos="100000">
                <a:schemeClr val="accent1"/>
              </a:gs>
            </a:gsLst>
            <a:lin ang="16200000" scaled="0"/>
            <a:tileRect/>
          </a:gradFill>
          <a:ln w="9525">
            <a:noFill/>
            <a:round/>
            <a:headEnd/>
            <a:tailEnd/>
          </a:ln>
          <a:effectLst/>
        </p:spPr>
        <p:txBody>
          <a:bodyPr wrap="square" lIns="121837" tIns="0" rIns="103155" bIns="69040" anchor="ctr">
            <a:normAutofit fontScale="25000" lnSpcReduction="20000"/>
          </a:bodyPr>
          <a:lstStyle>
            <a:lvl1pPr marL="0" lvl="0" defTabSz="515813" eaLnBrk="1" latinLnBrk="0" hangingPunct="1">
              <a:buNone/>
              <a:defRPr lang="en-US" sz="4100" b="0" i="0" dirty="0">
                <a:ea typeface="+mn-ea"/>
                <a:cs typeface="+mn-cs"/>
              </a:defRPr>
            </a:lvl1pPr>
          </a:lstStyle>
          <a:p>
            <a:endParaRPr sz="4100">
              <a:solidFill>
                <a:srgbClr val="242424"/>
              </a:solidFill>
            </a:endParaRPr>
          </a:p>
        </p:txBody>
      </p:sp>
      <p:pic>
        <p:nvPicPr>
          <p:cNvPr id="10" name="Image 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8916939" y="6089653"/>
            <a:ext cx="784195" cy="552923"/>
          </a:xfrm>
          <a:prstGeom prst="rect">
            <a:avLst/>
          </a:prstGeom>
        </p:spPr>
      </p:pic>
    </p:spTree>
    <p:extLst>
      <p:ext uri="{BB962C8B-B14F-4D97-AF65-F5344CB8AC3E}">
        <p14:creationId xmlns:p14="http://schemas.microsoft.com/office/powerpoint/2010/main" val="587283740"/>
      </p:ext>
    </p:extLst>
  </p:cSld>
  <p:clrMap bg1="lt1" tx1="dk1" bg2="lt2" tx2="dk2" accent1="accent1" accent2="accent2" accent3="accent3" accent4="accent4" accent5="accent5" accent6="accent6" hlink="hlink" folHlink="folHlink"/>
  <p:sldLayoutIdLst>
    <p:sldLayoutId id="2147483869" r:id="rId1"/>
    <p:sldLayoutId id="2147483871" r:id="rId2"/>
    <p:sldLayoutId id="2147483870" r:id="rId3"/>
    <p:sldLayoutId id="2147483690" r:id="rId4"/>
    <p:sldLayoutId id="2147483890" r:id="rId5"/>
    <p:sldLayoutId id="2147483885" r:id="rId6"/>
    <p:sldLayoutId id="2147483881" r:id="rId7"/>
    <p:sldLayoutId id="2147483886" r:id="rId8"/>
    <p:sldLayoutId id="2147483887" r:id="rId9"/>
    <p:sldLayoutId id="2147483888" r:id="rId10"/>
    <p:sldLayoutId id="2147483889" r:id="rId11"/>
    <p:sldLayoutId id="2147483872" r:id="rId12"/>
    <p:sldLayoutId id="2147483892" r:id="rId13"/>
    <p:sldLayoutId id="2147483884" r:id="rId14"/>
    <p:sldLayoutId id="2147483899" r:id="rId15"/>
    <p:sldLayoutId id="2147483902" r:id="rId16"/>
    <p:sldLayoutId id="2147483901" r:id="rId17"/>
    <p:sldLayoutId id="2147483873" r:id="rId18"/>
    <p:sldLayoutId id="2147483882" r:id="rId19"/>
    <p:sldLayoutId id="2147483891" r:id="rId20"/>
    <p:sldLayoutId id="2147483734" r:id="rId21"/>
    <p:sldLayoutId id="2147483731" r:id="rId22"/>
    <p:sldLayoutId id="2147483718" r:id="rId23"/>
    <p:sldLayoutId id="2147483893" r:id="rId24"/>
    <p:sldLayoutId id="2147483733" r:id="rId25"/>
    <p:sldLayoutId id="2147483900" r:id="rId26"/>
    <p:sldLayoutId id="2147483897" r:id="rId27"/>
    <p:sldLayoutId id="2147483874" r:id="rId28"/>
    <p:sldLayoutId id="2147483880" r:id="rId29"/>
    <p:sldLayoutId id="2147483877" r:id="rId30"/>
    <p:sldLayoutId id="2147483875" r:id="rId31"/>
    <p:sldLayoutId id="2147483898" r:id="rId32"/>
    <p:sldLayoutId id="2147483876" r:id="rId33"/>
    <p:sldLayoutId id="2147483878" r:id="rId34"/>
    <p:sldLayoutId id="2147483732" r:id="rId35"/>
    <p:sldLayoutId id="2147483883" r:id="rId36"/>
    <p:sldLayoutId id="2147483879" r:id="rId37"/>
    <p:sldLayoutId id="2147483896" r:id="rId38"/>
    <p:sldLayoutId id="2147483895" r:id="rId39"/>
    <p:sldLayoutId id="2147483894" r:id="rId40"/>
    <p:sldLayoutId id="2147483755" r:id="rId41"/>
    <p:sldLayoutId id="2147483865" r:id="rId42"/>
    <p:sldLayoutId id="2147483866" r:id="rId43"/>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180000" indent="-180000" algn="l" defTabSz="914400" rtl="0" eaLnBrk="1" latinLnBrk="0" hangingPunct="1">
        <a:lnSpc>
          <a:spcPct val="90000"/>
        </a:lnSpc>
        <a:spcBef>
          <a:spcPts val="600"/>
        </a:spcBef>
        <a:buClr>
          <a:schemeClr val="accent1"/>
        </a:buClr>
        <a:buFont typeface="Myriad Pro" panose="020B0503030403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90000"/>
        </a:lnSpc>
        <a:spcBef>
          <a:spcPts val="400"/>
        </a:spcBef>
        <a:buClr>
          <a:schemeClr val="tx1"/>
        </a:buClr>
        <a:buFont typeface="Myriad Pro" panose="020B0503030403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90000"/>
        </a:lnSpc>
        <a:spcBef>
          <a:spcPts val="200"/>
        </a:spcBef>
        <a:buFont typeface="Myriad Pro" panose="020B0503030403020204" pitchFamily="34" charset="0"/>
        <a:buChar char="›"/>
        <a:defRPr sz="1600" kern="1200">
          <a:solidFill>
            <a:schemeClr val="bg1">
              <a:lumMod val="50000"/>
            </a:schemeClr>
          </a:solidFill>
          <a:latin typeface="+mn-lt"/>
          <a:ea typeface="+mn-ea"/>
          <a:cs typeface="+mn-cs"/>
        </a:defRPr>
      </a:lvl3pPr>
      <a:lvl4pPr marL="720000" indent="-180000" algn="l" defTabSz="914400" rtl="0" eaLnBrk="1" latinLnBrk="0" hangingPunct="1">
        <a:lnSpc>
          <a:spcPct val="90000"/>
        </a:lnSpc>
        <a:spcBef>
          <a:spcPts val="100"/>
        </a:spcBef>
        <a:buFont typeface="Myriad Pro" panose="020B0503030403020204" pitchFamily="34" charset="0"/>
        <a:buChar char="›"/>
        <a:defRPr sz="1400" kern="1200">
          <a:solidFill>
            <a:schemeClr val="accent3"/>
          </a:solidFill>
          <a:latin typeface="+mn-lt"/>
          <a:ea typeface="+mn-ea"/>
          <a:cs typeface="+mn-cs"/>
        </a:defRPr>
      </a:lvl4pPr>
      <a:lvl5pPr marL="900000" indent="-180000" algn="l" defTabSz="914400" rtl="0" eaLnBrk="1" latinLnBrk="0" hangingPunct="1">
        <a:lnSpc>
          <a:spcPct val="90000"/>
        </a:lnSpc>
        <a:spcBef>
          <a:spcPts val="0"/>
        </a:spcBef>
        <a:buFont typeface="Myriad Pro" panose="020B0503030403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1097"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p:nvSpPr>
        <p:spPr>
          <a:xfrm>
            <a:off x="9417666" y="6409850"/>
            <a:ext cx="419458" cy="210503"/>
          </a:xfrm>
          <a:prstGeom prst="rect">
            <a:avLst/>
          </a:prstGeom>
          <a:noFill/>
        </p:spPr>
        <p:txBody>
          <a:bodyPr wrap="square" lIns="0" tIns="15356" rIns="0" bIns="0" rtlCol="0">
            <a:noAutofit/>
          </a:bodyPr>
          <a:lstStyle/>
          <a:p>
            <a:pPr marL="0" marR="10835" lvl="0" indent="0" algn="ctr" defTabSz="557213"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13"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3" y="6412034"/>
            <a:ext cx="3343275" cy="186077"/>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a:p>
        </p:txBody>
      </p:sp>
    </p:spTree>
    <p:extLst>
      <p:ext uri="{BB962C8B-B14F-4D97-AF65-F5344CB8AC3E}">
        <p14:creationId xmlns:p14="http://schemas.microsoft.com/office/powerpoint/2010/main" val="1908565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sldNum="0" hdr="0" ftr="0" dt="0"/>
  <p:txStyles>
    <p:titleStyle>
      <a:lvl1pPr marL="8775" algn="l" eaLnBrk="1" hangingPunct="1">
        <a:spcBef>
          <a:spcPts val="61"/>
        </a:spcBef>
        <a:defRPr sz="3291">
          <a:latin typeface="+mj-lt"/>
          <a:ea typeface="+mj-ea"/>
          <a:cs typeface="+mj-cs"/>
        </a:defRPr>
      </a:lvl1pPr>
    </p:titleStyle>
    <p:body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p:bodyStyle>
    <p:otherStyle>
      <a:lvl1pPr marL="0" eaLnBrk="1" hangingPunct="1">
        <a:defRPr>
          <a:latin typeface="+mn-lt"/>
          <a:ea typeface="+mn-ea"/>
          <a:cs typeface="+mn-cs"/>
        </a:defRPr>
      </a:lvl1pPr>
      <a:lvl2pPr marL="278606" eaLnBrk="1" hangingPunct="1">
        <a:defRPr>
          <a:latin typeface="+mn-lt"/>
          <a:ea typeface="+mn-ea"/>
          <a:cs typeface="+mn-cs"/>
        </a:defRPr>
      </a:lvl2pPr>
      <a:lvl3pPr marL="557213" eaLnBrk="1" hangingPunct="1">
        <a:defRPr>
          <a:latin typeface="+mn-lt"/>
          <a:ea typeface="+mn-ea"/>
          <a:cs typeface="+mn-cs"/>
        </a:defRPr>
      </a:lvl3pPr>
      <a:lvl4pPr marL="835819" eaLnBrk="1" hangingPunct="1">
        <a:defRPr>
          <a:latin typeface="+mn-lt"/>
          <a:ea typeface="+mn-ea"/>
          <a:cs typeface="+mn-cs"/>
        </a:defRPr>
      </a:lvl4pPr>
      <a:lvl5pPr marL="1114425" eaLnBrk="1" hangingPunct="1">
        <a:defRPr>
          <a:latin typeface="+mn-lt"/>
          <a:ea typeface="+mn-ea"/>
          <a:cs typeface="+mn-cs"/>
        </a:defRPr>
      </a:lvl5pPr>
      <a:lvl6pPr marL="1393031" eaLnBrk="1" hangingPunct="1">
        <a:defRPr>
          <a:latin typeface="+mn-lt"/>
          <a:ea typeface="+mn-ea"/>
          <a:cs typeface="+mn-cs"/>
        </a:defRPr>
      </a:lvl6pPr>
      <a:lvl7pPr marL="1671638" eaLnBrk="1" hangingPunct="1">
        <a:defRPr>
          <a:latin typeface="+mn-lt"/>
          <a:ea typeface="+mn-ea"/>
          <a:cs typeface="+mn-cs"/>
        </a:defRPr>
      </a:lvl7pPr>
      <a:lvl8pPr marL="1950244" eaLnBrk="1" hangingPunct="1">
        <a:defRPr>
          <a:latin typeface="+mn-lt"/>
          <a:ea typeface="+mn-ea"/>
          <a:cs typeface="+mn-cs"/>
        </a:defRPr>
      </a:lvl8pPr>
      <a:lvl9pPr marL="222885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09849"/>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715" r:id="rId1"/>
    <p:sldLayoutId id="2147483694" r:id="rId2"/>
    <p:sldLayoutId id="2147483695" r:id="rId3"/>
    <p:sldLayoutId id="2147483696" r:id="rId4"/>
    <p:sldLayoutId id="2147483697" r:id="rId5"/>
    <p:sldLayoutId id="2147483698" r:id="rId6"/>
    <p:sldLayoutId id="2147483717" r:id="rId7"/>
    <p:sldLayoutId id="2147483699" r:id="rId8"/>
    <p:sldLayoutId id="2147483700" r:id="rId9"/>
    <p:sldLayoutId id="2147483719" r:id="rId10"/>
    <p:sldLayoutId id="2147483701" r:id="rId11"/>
    <p:sldLayoutId id="2147483702" r:id="rId12"/>
    <p:sldLayoutId id="2147483703" r:id="rId13"/>
    <p:sldLayoutId id="2147483721"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20" r:id="rId26"/>
    <p:sldLayoutId id="2147483938" r:id="rId27"/>
    <p:sldLayoutId id="2147483936" r:id="rId28"/>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a:p>
            <a:pPr lvl="5"/>
            <a:r>
              <a:rPr lang="en-US" noProof="0" dirty="0"/>
              <a:t>Text level 6</a:t>
            </a:r>
          </a:p>
          <a:p>
            <a:pPr lvl="6"/>
            <a:r>
              <a:rPr lang="en-US" noProof="0" dirty="0"/>
              <a:t>Text level 7</a:t>
            </a:r>
          </a:p>
          <a:p>
            <a:pPr lvl="7"/>
            <a:r>
              <a:rPr lang="en-US" noProof="0" dirty="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30564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dirty="0">
              <a:solidFill>
                <a:schemeClr val="bg1"/>
              </a:solidFill>
              <a:latin typeface="+mj-lt"/>
            </a:endParaRPr>
          </a:p>
        </p:txBody>
      </p:sp>
      <p:cxnSp>
        <p:nvCxnSpPr>
          <p:cNvPr id="7" name="Straight Connector 6">
            <a:extLst>
              <a:ext uri="{FF2B5EF4-FFF2-40B4-BE49-F238E27FC236}">
                <a16:creationId xmlns:a16="http://schemas.microsoft.com/office/drawing/2014/main" id="{80722045-20FB-45FA-9117-8ADC510CA52D}"/>
              </a:ext>
            </a:extLst>
          </p:cNvPr>
          <p:cNvCxnSpPr>
            <a:cxnSpLocks/>
          </p:cNvCxnSpPr>
          <p:nvPr userDrawn="1"/>
        </p:nvCxnSpPr>
        <p:spPr>
          <a:xfrm>
            <a:off x="9453707" y="6549390"/>
            <a:ext cx="34737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0F18753-7D26-490B-9E11-C62C33337156}"/>
              </a:ext>
            </a:extLst>
          </p:cNvPr>
          <p:cNvSpPr txBox="1"/>
          <p:nvPr userDrawn="1"/>
        </p:nvSpPr>
        <p:spPr>
          <a:xfrm>
            <a:off x="9353984" y="6598710"/>
            <a:ext cx="546820" cy="210503"/>
          </a:xfrm>
          <a:prstGeom prst="rect">
            <a:avLst/>
          </a:prstGeom>
          <a:noFill/>
        </p:spPr>
        <p:txBody>
          <a:bodyPr wrap="square" lIns="0" tIns="15356" rIns="0" bIns="0" rtlCol="0">
            <a:noAutofit/>
          </a:bodyPr>
          <a:lstStyle/>
          <a:p>
            <a:pPr marL="0" marR="5418" lvl="0" indent="0" algn="ctr" defTabSz="557235" rtl="0" eaLnBrk="1" fontAlgn="auto" latinLnBrk="0" hangingPunct="1">
              <a:lnSpc>
                <a:spcPct val="100000"/>
              </a:lnSpc>
              <a:spcBef>
                <a:spcPts val="411"/>
              </a:spcBef>
              <a:spcAft>
                <a:spcPts val="0"/>
              </a:spcAft>
              <a:buClrTx/>
              <a:buSzTx/>
              <a:buFontTx/>
              <a:buNone/>
              <a:tabLst/>
              <a:defRPr/>
            </a:pPr>
            <a:r>
              <a:rPr kumimoji="0" lang="en-US" sz="792" b="0" i="0" u="none" strike="noStrike" kern="1200" cap="none" spc="49" normalizeH="0" baseline="0" noProof="0" dirty="0">
                <a:ln>
                  <a:noFill/>
                </a:ln>
                <a:solidFill>
                  <a:schemeClr val="bg1"/>
                </a:solidFill>
                <a:effectLst/>
                <a:uLnTx/>
                <a:uFillTx/>
                <a:latin typeface="+mj-lt"/>
                <a:ea typeface="+mn-ea"/>
                <a:cs typeface="+mn-cs"/>
              </a:rPr>
              <a:t>27</a:t>
            </a:r>
            <a:endParaRPr lang="en-US" sz="792" dirty="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18289"/>
            <a:ext cx="3343275" cy="373564"/>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en-US" dirty="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9" r:id="rId28"/>
    <p:sldLayoutId id="2147483940" r:id="rId2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Espace réservé du texte 14">
            <a:extLst>
              <a:ext uri="{FF2B5EF4-FFF2-40B4-BE49-F238E27FC236}">
                <a16:creationId xmlns:a16="http://schemas.microsoft.com/office/drawing/2014/main" id="{95761A52-1304-4A60-8DEE-CE0F518B20E2}"/>
              </a:ext>
            </a:extLst>
          </p:cNvPr>
          <p:cNvSpPr>
            <a:spLocks noGrp="1"/>
          </p:cNvSpPr>
          <p:nvPr>
            <p:ph type="body" idx="1"/>
          </p:nvPr>
        </p:nvSpPr>
        <p:spPr>
          <a:xfrm>
            <a:off x="681038" y="1825229"/>
            <a:ext cx="8543925" cy="4351734"/>
          </a:xfrm>
          <a:prstGeom prst="rect">
            <a:avLst/>
          </a:prstGeom>
        </p:spPr>
        <p:txBody>
          <a:bodyPr vert="horz" lIns="0" tIns="108000" rIns="0" bIns="0" rtlCol="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a:p>
            <a:pPr lvl="5"/>
            <a:r>
              <a:rPr lang="en-US" noProof="0"/>
              <a:t>Text level 6</a:t>
            </a:r>
          </a:p>
          <a:p>
            <a:pPr lvl="6"/>
            <a:r>
              <a:rPr lang="en-US" noProof="0"/>
              <a:t>Text level 7</a:t>
            </a:r>
          </a:p>
          <a:p>
            <a:pPr lvl="7"/>
            <a:r>
              <a:rPr lang="en-US" noProof="0"/>
              <a:t>Text level 8</a:t>
            </a:r>
          </a:p>
        </p:txBody>
      </p:sp>
      <p:sp>
        <p:nvSpPr>
          <p:cNvPr id="3" name="bg object 20">
            <a:extLst>
              <a:ext uri="{FF2B5EF4-FFF2-40B4-BE49-F238E27FC236}">
                <a16:creationId xmlns:a16="http://schemas.microsoft.com/office/drawing/2014/main" id="{D3E5BA15-966F-4DD8-AA19-992D7F85BCCC}"/>
              </a:ext>
            </a:extLst>
          </p:cNvPr>
          <p:cNvSpPr/>
          <p:nvPr userDrawn="1"/>
        </p:nvSpPr>
        <p:spPr>
          <a:xfrm>
            <a:off x="9348787" y="6172200"/>
            <a:ext cx="557213" cy="685800"/>
          </a:xfrm>
          <a:custGeom>
            <a:avLst/>
            <a:gdLst/>
            <a:ahLst/>
            <a:cxnLst/>
            <a:rect l="l" t="t" r="r" b="b"/>
            <a:pathLst>
              <a:path w="914400" h="914400">
                <a:moveTo>
                  <a:pt x="914400" y="0"/>
                </a:moveTo>
                <a:lnTo>
                  <a:pt x="0" y="0"/>
                </a:lnTo>
                <a:lnTo>
                  <a:pt x="0" y="914400"/>
                </a:lnTo>
                <a:lnTo>
                  <a:pt x="914400" y="914400"/>
                </a:lnTo>
                <a:lnTo>
                  <a:pt x="914400" y="0"/>
                </a:lnTo>
                <a:close/>
              </a:path>
            </a:pathLst>
          </a:custGeom>
          <a:solidFill>
            <a:srgbClr val="EF4641"/>
          </a:solidFill>
        </p:spPr>
        <p:txBody>
          <a:bodyPr wrap="square" lIns="0" tIns="0" rIns="0" bIns="0" rtlCol="0"/>
          <a:lstStyle/>
          <a:p>
            <a:endParaRPr lang="en-US" sz="731" noProof="0">
              <a:latin typeface="+mj-lt"/>
            </a:endParaRPr>
          </a:p>
        </p:txBody>
      </p:sp>
      <p:sp>
        <p:nvSpPr>
          <p:cNvPr id="17" name="TextBox 16">
            <a:extLst>
              <a:ext uri="{FF2B5EF4-FFF2-40B4-BE49-F238E27FC236}">
                <a16:creationId xmlns:a16="http://schemas.microsoft.com/office/drawing/2014/main" id="{FB9C00CF-42F5-4DD5-BD7D-F5309C838D05}"/>
              </a:ext>
            </a:extLst>
          </p:cNvPr>
          <p:cNvSpPr txBox="1"/>
          <p:nvPr userDrawn="1"/>
        </p:nvSpPr>
        <p:spPr>
          <a:xfrm>
            <a:off x="9417665" y="6418897"/>
            <a:ext cx="419458" cy="210503"/>
          </a:xfrm>
          <a:prstGeom prst="rect">
            <a:avLst/>
          </a:prstGeom>
          <a:noFill/>
        </p:spPr>
        <p:txBody>
          <a:bodyPr wrap="square" lIns="0" tIns="15356" rIns="0" bIns="0" rtlCol="0">
            <a:noAutofit/>
          </a:bodyPr>
          <a:lstStyle/>
          <a:p>
            <a:pPr marL="0" marR="10835" lvl="0" indent="0" algn="ctr" defTabSz="557235" rtl="0" eaLnBrk="1" fontAlgn="auto" latinLnBrk="0" hangingPunct="1">
              <a:lnSpc>
                <a:spcPct val="100000"/>
              </a:lnSpc>
              <a:spcBef>
                <a:spcPts val="122"/>
              </a:spcBef>
              <a:spcAft>
                <a:spcPts val="0"/>
              </a:spcAft>
              <a:buClrTx/>
              <a:buSzTx/>
              <a:buFontTx/>
              <a:buNone/>
              <a:tabLst/>
              <a:defRPr/>
            </a:pPr>
            <a:fld id="{C776FCAC-631C-483D-BA00-980BAEA6F3AA}" type="slidenum">
              <a:rPr kumimoji="0" lang="en-US" sz="1219" b="0" i="0" u="none" strike="noStrike" kern="1200" cap="none" spc="61" normalizeH="0" baseline="0" noProof="0" smtClean="0">
                <a:ln>
                  <a:noFill/>
                </a:ln>
                <a:solidFill>
                  <a:schemeClr val="bg1"/>
                </a:solidFill>
                <a:effectLst/>
                <a:uLnTx/>
                <a:uFillTx/>
                <a:latin typeface="+mj-lt"/>
                <a:ea typeface="+mn-ea"/>
                <a:cs typeface="+mn-cs"/>
              </a:rPr>
              <a:pPr marL="0" marR="10835" lvl="0" indent="0" algn="ctr" defTabSz="557235" rtl="0" eaLnBrk="1" fontAlgn="auto" latinLnBrk="0" hangingPunct="1">
                <a:lnSpc>
                  <a:spcPct val="100000"/>
                </a:lnSpc>
                <a:spcBef>
                  <a:spcPts val="122"/>
                </a:spcBef>
                <a:spcAft>
                  <a:spcPts val="0"/>
                </a:spcAft>
                <a:buClrTx/>
                <a:buSzTx/>
                <a:buFontTx/>
                <a:buNone/>
                <a:tabLst/>
                <a:defRPr/>
              </a:pPr>
              <a:t>‹N°›</a:t>
            </a:fld>
            <a:endParaRPr lang="en-US" sz="792" spc="61" baseline="0">
              <a:solidFill>
                <a:schemeClr val="bg1"/>
              </a:solidFill>
              <a:latin typeface="+mj-lt"/>
            </a:endParaRPr>
          </a:p>
        </p:txBody>
      </p:sp>
      <p:sp>
        <p:nvSpPr>
          <p:cNvPr id="5" name="Footer Placeholder 4">
            <a:extLst>
              <a:ext uri="{FF2B5EF4-FFF2-40B4-BE49-F238E27FC236}">
                <a16:creationId xmlns:a16="http://schemas.microsoft.com/office/drawing/2014/main" id="{863DDCEA-0DE3-47D0-9375-2237A04C91E9}"/>
              </a:ext>
            </a:extLst>
          </p:cNvPr>
          <p:cNvSpPr>
            <a:spLocks noGrp="1"/>
          </p:cNvSpPr>
          <p:nvPr>
            <p:ph type="ftr" sz="quarter" idx="3"/>
          </p:nvPr>
        </p:nvSpPr>
        <p:spPr>
          <a:xfrm>
            <a:off x="5896572" y="6365161"/>
            <a:ext cx="3343275" cy="279820"/>
          </a:xfrm>
          <a:prstGeom prst="rect">
            <a:avLst/>
          </a:prstGeom>
        </p:spPr>
        <p:txBody>
          <a:bodyPr vert="horz" lIns="91440" tIns="45720" rIns="91440" bIns="45720" rtlCol="0" anchor="ctr">
            <a:spAutoFit/>
          </a:bodyPr>
          <a:lstStyle>
            <a:lvl1pPr algn="r">
              <a:defRPr sz="609">
                <a:solidFill>
                  <a:schemeClr val="accent2"/>
                </a:solidFill>
              </a:defRPr>
            </a:lvl1pPr>
          </a:lstStyle>
          <a:p>
            <a:endParaRPr lang="fr-FR" noProof="0"/>
          </a:p>
        </p:txBody>
      </p:sp>
    </p:spTree>
    <p:extLst>
      <p:ext uri="{BB962C8B-B14F-4D97-AF65-F5344CB8AC3E}">
        <p14:creationId xmlns:p14="http://schemas.microsoft.com/office/powerpoint/2010/main" val="1955524939"/>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722" r:id="rId5"/>
    <p:sldLayoutId id="2147483937" r:id="rId6"/>
    <p:sldLayoutId id="2147483723" r:id="rId7"/>
    <p:sldLayoutId id="2147483724" r:id="rId8"/>
    <p:sldLayoutId id="2147483725" r:id="rId9"/>
  </p:sldLayoutIdLst>
  <p:hf sldNum="0" hdr="0" ftr="0" dt="0"/>
  <p:txStyles>
    <p:titleStyle>
      <a:lvl1pPr marL="8775" algn="l">
        <a:spcBef>
          <a:spcPts val="61"/>
        </a:spcBef>
        <a:defRPr sz="3291">
          <a:latin typeface="+mj-lt"/>
          <a:ea typeface="+mj-ea"/>
          <a:cs typeface="+mj-cs"/>
        </a:defRPr>
      </a:lvl1pPr>
    </p:titleStyle>
    <p:bodyStyle>
      <a:lvl1pPr marL="0" algn="l">
        <a:lnSpc>
          <a:spcPct val="110000"/>
        </a:lnSpc>
        <a:spcBef>
          <a:spcPts val="378"/>
        </a:spcBef>
        <a:spcAft>
          <a:spcPts val="378"/>
        </a:spcAft>
        <a:defRPr sz="1463" kern="1200" baseline="0">
          <a:solidFill>
            <a:schemeClr val="tx2"/>
          </a:solidFill>
          <a:latin typeface="+mn-lt"/>
          <a:ea typeface="+mn-ea"/>
          <a:cs typeface="+mn-cs"/>
        </a:defRPr>
      </a:lvl1pPr>
      <a:lvl2pPr marL="0" algn="l">
        <a:lnSpc>
          <a:spcPct val="110000"/>
        </a:lnSpc>
        <a:spcBef>
          <a:spcPts val="0"/>
        </a:spcBef>
        <a:spcAft>
          <a:spcPts val="378"/>
        </a:spcAft>
        <a:defRPr sz="1280" kern="1200" baseline="0">
          <a:solidFill>
            <a:schemeClr val="accent1"/>
          </a:solidFill>
          <a:latin typeface="+mn-lt"/>
          <a:ea typeface="+mn-ea"/>
          <a:cs typeface="+mn-cs"/>
        </a:defRPr>
      </a:lvl2pPr>
      <a:lvl3pPr marL="0" algn="l">
        <a:lnSpc>
          <a:spcPct val="110000"/>
        </a:lnSpc>
        <a:spcBef>
          <a:spcPts val="0"/>
        </a:spcBef>
        <a:spcAft>
          <a:spcPts val="378"/>
        </a:spcAft>
        <a:defRPr kern="1200" baseline="0">
          <a:solidFill>
            <a:schemeClr val="accent3"/>
          </a:solidFill>
          <a:latin typeface="+mn-lt"/>
          <a:ea typeface="+mn-ea"/>
          <a:cs typeface="+mn-cs"/>
        </a:defRPr>
      </a:lvl3pPr>
      <a:lvl4pPr marL="175507" indent="-131630" algn="l">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a:lnSpc>
          <a:spcPct val="110000"/>
        </a:lnSpc>
        <a:spcBef>
          <a:spcPts val="0"/>
        </a:spcBef>
        <a:spcAft>
          <a:spcPts val="378"/>
        </a:spcAft>
        <a:defRPr sz="914" kern="1200" baseline="0">
          <a:solidFill>
            <a:schemeClr val="tx2"/>
          </a:solidFill>
          <a:latin typeface="+mn-lt"/>
          <a:ea typeface="+mn-ea"/>
          <a:cs typeface="+mn-cs"/>
        </a:defRPr>
      </a:lvl5pPr>
      <a:lvl6pPr marL="175507" indent="-131630" algn="l">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a:lnSpc>
          <a:spcPct val="110000"/>
        </a:lnSpc>
        <a:spcBef>
          <a:spcPts val="378"/>
        </a:spcBef>
        <a:spcAft>
          <a:spcPts val="0"/>
        </a:spcAft>
        <a:defRPr sz="792">
          <a:solidFill>
            <a:schemeClr val="accent1"/>
          </a:solidFill>
          <a:latin typeface="+mn-lt"/>
          <a:ea typeface="+mn-ea"/>
          <a:cs typeface="+mn-cs"/>
        </a:defRPr>
      </a:lvl7pPr>
      <a:lvl8pPr marL="175507" indent="-131630" algn="l">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941">
        <a:defRPr>
          <a:latin typeface="+mn-lt"/>
          <a:ea typeface="+mn-ea"/>
          <a:cs typeface="+mn-cs"/>
        </a:defRPr>
      </a:lvl9pPr>
    </p:bodyStyle>
    <p:otherStyle>
      <a:lvl1pPr marL="0">
        <a:defRPr>
          <a:latin typeface="+mn-lt"/>
          <a:ea typeface="+mn-ea"/>
          <a:cs typeface="+mn-cs"/>
        </a:defRPr>
      </a:lvl1pPr>
      <a:lvl2pPr marL="278618">
        <a:defRPr>
          <a:latin typeface="+mn-lt"/>
          <a:ea typeface="+mn-ea"/>
          <a:cs typeface="+mn-cs"/>
        </a:defRPr>
      </a:lvl2pPr>
      <a:lvl3pPr marL="557235">
        <a:defRPr>
          <a:latin typeface="+mn-lt"/>
          <a:ea typeface="+mn-ea"/>
          <a:cs typeface="+mn-cs"/>
        </a:defRPr>
      </a:lvl3pPr>
      <a:lvl4pPr marL="835853">
        <a:defRPr>
          <a:latin typeface="+mn-lt"/>
          <a:ea typeface="+mn-ea"/>
          <a:cs typeface="+mn-cs"/>
        </a:defRPr>
      </a:lvl4pPr>
      <a:lvl5pPr marL="1114471">
        <a:defRPr>
          <a:latin typeface="+mn-lt"/>
          <a:ea typeface="+mn-ea"/>
          <a:cs typeface="+mn-cs"/>
        </a:defRPr>
      </a:lvl5pPr>
      <a:lvl6pPr marL="1393088">
        <a:defRPr>
          <a:latin typeface="+mn-lt"/>
          <a:ea typeface="+mn-ea"/>
          <a:cs typeface="+mn-cs"/>
        </a:defRPr>
      </a:lvl6pPr>
      <a:lvl7pPr marL="1671706">
        <a:defRPr>
          <a:latin typeface="+mn-lt"/>
          <a:ea typeface="+mn-ea"/>
          <a:cs typeface="+mn-cs"/>
        </a:defRPr>
      </a:lvl7pPr>
      <a:lvl8pPr marL="1950324">
        <a:defRPr>
          <a:latin typeface="+mn-lt"/>
          <a:ea typeface="+mn-ea"/>
          <a:cs typeface="+mn-cs"/>
        </a:defRPr>
      </a:lvl8pPr>
      <a:lvl9pPr marL="222894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diagramLayout" Target="../diagrams/layout1.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diagramData" Target="../diagrams/data1.xml"/><Relationship Id="rId16" Type="http://schemas.openxmlformats.org/officeDocument/2006/relationships/image" Target="../media/image82.png"/><Relationship Id="rId1" Type="http://schemas.openxmlformats.org/officeDocument/2006/relationships/slideLayout" Target="../slideLayouts/slideLayout114.xml"/><Relationship Id="rId6" Type="http://schemas.microsoft.com/office/2007/relationships/diagramDrawing" Target="../diagrams/drawing1.xml"/><Relationship Id="rId11" Type="http://schemas.openxmlformats.org/officeDocument/2006/relationships/image" Target="../media/image77.png"/><Relationship Id="rId5" Type="http://schemas.openxmlformats.org/officeDocument/2006/relationships/diagramColors" Target="../diagrams/colors1.xml"/><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diagramQuickStyle" Target="../diagrams/quickStyle1.xml"/><Relationship Id="rId9" Type="http://schemas.openxmlformats.org/officeDocument/2006/relationships/image" Target="../media/image75.png"/><Relationship Id="rId14" Type="http://schemas.openxmlformats.org/officeDocument/2006/relationships/image" Target="../media/image80.png"/></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11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8.xml"/><Relationship Id="rId4" Type="http://schemas.openxmlformats.org/officeDocument/2006/relationships/image" Target="../media/image60.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56.xml"/></Relationships>
</file>

<file path=ppt/slides/_rels/slide59.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8.xml"/></Relationships>
</file>

<file path=ppt/slides/_rels/slide60.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5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3.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5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56.xml"/></Relationships>
</file>

<file path=ppt/slides/_rels/slide6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6.xml"/></Relationships>
</file>

<file path=ppt/slides/_rels/slide6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107.emf"/></Relationships>
</file>

<file path=ppt/slides/_rels/slide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8.xml"/></Relationships>
</file>

<file path=ppt/slides/_rels/slide7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56.xml"/><Relationship Id="rId4" Type="http://schemas.openxmlformats.org/officeDocument/2006/relationships/image" Target="../media/image109.png"/></Relationships>
</file>

<file path=ppt/slides/_rels/slide71.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7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56.xml"/></Relationships>
</file>

<file path=ppt/slides/_rels/slide73.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56.xml"/></Relationships>
</file>

<file path=ppt/slides/_rels/slide74.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slideLayout" Target="../slideLayouts/slideLayout56.xml"/></Relationships>
</file>

<file path=ppt/slides/_rels/slide75.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emf"/><Relationship Id="rId1" Type="http://schemas.openxmlformats.org/officeDocument/2006/relationships/slideLayout" Target="../slideLayouts/slideLayout56.xml"/></Relationships>
</file>

<file path=ppt/slides/_rels/slide76.xml.rels><?xml version="1.0" encoding="UTF-8" standalone="yes"?>
<Relationships xmlns="http://schemas.openxmlformats.org/package/2006/relationships"><Relationship Id="rId2" Type="http://schemas.openxmlformats.org/officeDocument/2006/relationships/image" Target="../media/image124.emf"/><Relationship Id="rId1" Type="http://schemas.openxmlformats.org/officeDocument/2006/relationships/slideLayout" Target="../slideLayouts/slideLayout56.xml"/></Relationships>
</file>

<file path=ppt/slides/_rels/slide77.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56.xml"/></Relationships>
</file>

<file path=ppt/slides/_rels/slide78.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56.xml"/></Relationships>
</file>

<file path=ppt/slides/_rels/slide79.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18.xml"/><Relationship Id="rId5" Type="http://schemas.openxmlformats.org/officeDocument/2006/relationships/image" Target="../media/image49.jpg"/><Relationship Id="rId4" Type="http://schemas.openxmlformats.org/officeDocument/2006/relationships/image" Target="../media/image65.png"/></Relationships>
</file>

<file path=ppt/slides/_rels/slide80.xml.rels><?xml version="1.0" encoding="UTF-8" standalone="yes"?>
<Relationships xmlns="http://schemas.openxmlformats.org/package/2006/relationships"><Relationship Id="rId2" Type="http://schemas.openxmlformats.org/officeDocument/2006/relationships/image" Target="../media/image128.emf"/><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56.xml"/></Relationships>
</file>

<file path=ppt/slides/_rels/slide82.xml.rels><?xml version="1.0" encoding="UTF-8" standalone="yes"?>
<Relationships xmlns="http://schemas.openxmlformats.org/package/2006/relationships"><Relationship Id="rId2" Type="http://schemas.openxmlformats.org/officeDocument/2006/relationships/image" Target="../media/image130.emf"/><Relationship Id="rId1" Type="http://schemas.openxmlformats.org/officeDocument/2006/relationships/slideLayout" Target="../slideLayouts/slideLayout56.xml"/></Relationships>
</file>

<file path=ppt/slides/_rels/slide8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5.xml.rels><?xml version="1.0" encoding="UTF-8" standalone="yes"?>
<Relationships xmlns="http://schemas.openxmlformats.org/package/2006/relationships"><Relationship Id="rId3" Type="http://schemas.openxmlformats.org/officeDocument/2006/relationships/image" Target="../media/image132.emf"/><Relationship Id="rId2" Type="http://schemas.openxmlformats.org/officeDocument/2006/relationships/image" Target="../media/image131.emf"/><Relationship Id="rId1" Type="http://schemas.openxmlformats.org/officeDocument/2006/relationships/slideLayout" Target="../slideLayouts/slideLayout56.xml"/></Relationships>
</file>

<file path=ppt/slides/_rels/slide86.xml.rels><?xml version="1.0" encoding="UTF-8" standalone="yes"?>
<Relationships xmlns="http://schemas.openxmlformats.org/package/2006/relationships"><Relationship Id="rId2" Type="http://schemas.openxmlformats.org/officeDocument/2006/relationships/image" Target="../media/image133.emf"/><Relationship Id="rId1" Type="http://schemas.openxmlformats.org/officeDocument/2006/relationships/slideLayout" Target="../slideLayouts/slideLayout56.xml"/></Relationships>
</file>

<file path=ppt/slides/_rels/slide87.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56.xml"/></Relationships>
</file>

<file path=ppt/slides/_rels/slide8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28.xml"/></Relationships>
</file>

<file path=ppt/slides/_rels/slide90.xml.rels><?xml version="1.0" encoding="UTF-8" standalone="yes"?>
<Relationships xmlns="http://schemas.openxmlformats.org/package/2006/relationships"><Relationship Id="rId2" Type="http://schemas.openxmlformats.org/officeDocument/2006/relationships/image" Target="../media/image135.emf"/><Relationship Id="rId1" Type="http://schemas.openxmlformats.org/officeDocument/2006/relationships/slideLayout" Target="../slideLayouts/slideLayout56.xml"/></Relationships>
</file>

<file path=ppt/slides/_rels/slide91.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image" Target="../media/image136.emf"/><Relationship Id="rId1" Type="http://schemas.openxmlformats.org/officeDocument/2006/relationships/slideLayout" Target="../slideLayouts/slideLayout56.xml"/></Relationships>
</file>

<file path=ppt/slides/_rels/slide9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D25F98-7EB7-EB47-D21B-D8AD1F649E37}"/>
              </a:ext>
            </a:extLst>
          </p:cNvPr>
          <p:cNvSpPr>
            <a:spLocks noGrp="1"/>
          </p:cNvSpPr>
          <p:nvPr>
            <p:ph type="ctrTitle"/>
          </p:nvPr>
        </p:nvSpPr>
        <p:spPr>
          <a:xfrm>
            <a:off x="1352550" y="3429000"/>
            <a:ext cx="7200900" cy="1196755"/>
          </a:xfrm>
        </p:spPr>
        <p:txBody>
          <a:bodyPr/>
          <a:lstStyle/>
          <a:p>
            <a:r>
              <a:rPr lang="fr-FR" dirty="0"/>
              <a:t>Hub Entreprendre</a:t>
            </a:r>
          </a:p>
        </p:txBody>
      </p:sp>
      <p:pic>
        <p:nvPicPr>
          <p:cNvPr id="4" name="Image 3">
            <a:extLst>
              <a:ext uri="{FF2B5EF4-FFF2-40B4-BE49-F238E27FC236}">
                <a16:creationId xmlns:a16="http://schemas.microsoft.com/office/drawing/2014/main" id="{59D47288-0EBD-0C0B-66F0-962933F5D367}"/>
              </a:ext>
            </a:extLst>
          </p:cNvPr>
          <p:cNvPicPr>
            <a:picLocks noChangeAspect="1"/>
          </p:cNvPicPr>
          <p:nvPr/>
        </p:nvPicPr>
        <p:blipFill>
          <a:blip r:embed="rId2"/>
          <a:stretch>
            <a:fillRect/>
          </a:stretch>
        </p:blipFill>
        <p:spPr>
          <a:xfrm>
            <a:off x="6667500" y="1410354"/>
            <a:ext cx="1676828" cy="1170984"/>
          </a:xfrm>
          <a:prstGeom prst="rect">
            <a:avLst/>
          </a:prstGeom>
        </p:spPr>
      </p:pic>
    </p:spTree>
    <p:extLst>
      <p:ext uri="{BB962C8B-B14F-4D97-AF65-F5344CB8AC3E}">
        <p14:creationId xmlns:p14="http://schemas.microsoft.com/office/powerpoint/2010/main" val="2400460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8F9714-72E3-54F8-B7CE-EADB828E93F6}"/>
              </a:ext>
            </a:extLst>
          </p:cNvPr>
          <p:cNvSpPr>
            <a:spLocks noGrp="1"/>
          </p:cNvSpPr>
          <p:nvPr>
            <p:ph type="ctrTitle"/>
          </p:nvPr>
        </p:nvSpPr>
        <p:spPr>
          <a:xfrm>
            <a:off x="549473" y="697702"/>
            <a:ext cx="7561065" cy="858490"/>
          </a:xfrm>
        </p:spPr>
        <p:txBody>
          <a:bodyPr/>
          <a:lstStyle/>
          <a:p>
            <a:r>
              <a:rPr lang="fr-FR" dirty="0"/>
              <a:t>Enjeu stratégique pour le Conseil Régional d’Occitanie</a:t>
            </a:r>
          </a:p>
        </p:txBody>
      </p:sp>
      <p:grpSp>
        <p:nvGrpSpPr>
          <p:cNvPr id="6" name="Groupe 5">
            <a:extLst>
              <a:ext uri="{FF2B5EF4-FFF2-40B4-BE49-F238E27FC236}">
                <a16:creationId xmlns:a16="http://schemas.microsoft.com/office/drawing/2014/main" id="{0C4862A0-AE43-DC16-BF4F-E3410879B071}"/>
              </a:ext>
            </a:extLst>
          </p:cNvPr>
          <p:cNvGrpSpPr/>
          <p:nvPr/>
        </p:nvGrpSpPr>
        <p:grpSpPr>
          <a:xfrm>
            <a:off x="103695" y="1579406"/>
            <a:ext cx="9802305" cy="4911319"/>
            <a:chOff x="792593" y="772916"/>
            <a:chExt cx="10707886" cy="5526970"/>
          </a:xfrm>
        </p:grpSpPr>
        <p:sp>
          <p:nvSpPr>
            <p:cNvPr id="7" name="Freeform 5">
              <a:extLst>
                <a:ext uri="{FF2B5EF4-FFF2-40B4-BE49-F238E27FC236}">
                  <a16:creationId xmlns:a16="http://schemas.microsoft.com/office/drawing/2014/main" id="{8D6C94CA-BBD1-E88A-979F-FA5BDA62E157}"/>
                </a:ext>
              </a:extLst>
            </p:cNvPr>
            <p:cNvSpPr>
              <a:spLocks/>
            </p:cNvSpPr>
            <p:nvPr/>
          </p:nvSpPr>
          <p:spPr bwMode="auto">
            <a:xfrm>
              <a:off x="3144184" y="3201536"/>
              <a:ext cx="2752809" cy="2835893"/>
            </a:xfrm>
            <a:custGeom>
              <a:avLst/>
              <a:gdLst>
                <a:gd name="T0" fmla="*/ 460 w 721"/>
                <a:gd name="T1" fmla="*/ 55 h 721"/>
                <a:gd name="T2" fmla="*/ 666 w 721"/>
                <a:gd name="T3" fmla="*/ 460 h 721"/>
                <a:gd name="T4" fmla="*/ 261 w 721"/>
                <a:gd name="T5" fmla="*/ 666 h 721"/>
                <a:gd name="T6" fmla="*/ 55 w 721"/>
                <a:gd name="T7" fmla="*/ 261 h 721"/>
                <a:gd name="T8" fmla="*/ 460 w 721"/>
                <a:gd name="T9" fmla="*/ 55 h 721"/>
              </a:gdLst>
              <a:ahLst/>
              <a:cxnLst>
                <a:cxn ang="0">
                  <a:pos x="T0" y="T1"/>
                </a:cxn>
                <a:cxn ang="0">
                  <a:pos x="T2" y="T3"/>
                </a:cxn>
                <a:cxn ang="0">
                  <a:pos x="T4" y="T5"/>
                </a:cxn>
                <a:cxn ang="0">
                  <a:pos x="T6" y="T7"/>
                </a:cxn>
                <a:cxn ang="0">
                  <a:pos x="T8" y="T9"/>
                </a:cxn>
              </a:cxnLst>
              <a:rect l="0" t="0" r="r" b="b"/>
              <a:pathLst>
                <a:path w="721" h="721">
                  <a:moveTo>
                    <a:pt x="460" y="55"/>
                  </a:moveTo>
                  <a:cubicBezTo>
                    <a:pt x="628" y="110"/>
                    <a:pt x="721" y="291"/>
                    <a:pt x="666" y="460"/>
                  </a:cubicBezTo>
                  <a:cubicBezTo>
                    <a:pt x="611" y="629"/>
                    <a:pt x="430" y="721"/>
                    <a:pt x="261" y="666"/>
                  </a:cubicBezTo>
                  <a:cubicBezTo>
                    <a:pt x="92" y="612"/>
                    <a:pt x="0" y="430"/>
                    <a:pt x="55" y="261"/>
                  </a:cubicBezTo>
                  <a:cubicBezTo>
                    <a:pt x="109" y="93"/>
                    <a:pt x="291" y="0"/>
                    <a:pt x="460" y="55"/>
                  </a:cubicBezTo>
                  <a:close/>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9" name="Freeform 7">
              <a:extLst>
                <a:ext uri="{FF2B5EF4-FFF2-40B4-BE49-F238E27FC236}">
                  <a16:creationId xmlns:a16="http://schemas.microsoft.com/office/drawing/2014/main" id="{5FA85757-AD36-53C3-CC1F-7566B6BF12FF}"/>
                </a:ext>
              </a:extLst>
            </p:cNvPr>
            <p:cNvSpPr>
              <a:spLocks/>
            </p:cNvSpPr>
            <p:nvPr/>
          </p:nvSpPr>
          <p:spPr bwMode="auto">
            <a:xfrm>
              <a:off x="5317594" y="3463993"/>
              <a:ext cx="2752809" cy="2835893"/>
            </a:xfrm>
            <a:custGeom>
              <a:avLst/>
              <a:gdLst>
                <a:gd name="T0" fmla="*/ 104 w 729"/>
                <a:gd name="T1" fmla="*/ 553 h 729"/>
                <a:gd name="T2" fmla="*/ 175 w 729"/>
                <a:gd name="T3" fmla="*/ 104 h 729"/>
                <a:gd name="T4" fmla="*/ 624 w 729"/>
                <a:gd name="T5" fmla="*/ 175 h 729"/>
                <a:gd name="T6" fmla="*/ 553 w 729"/>
                <a:gd name="T7" fmla="*/ 624 h 729"/>
                <a:gd name="T8" fmla="*/ 104 w 729"/>
                <a:gd name="T9" fmla="*/ 553 h 729"/>
              </a:gdLst>
              <a:ahLst/>
              <a:cxnLst>
                <a:cxn ang="0">
                  <a:pos x="T0" y="T1"/>
                </a:cxn>
                <a:cxn ang="0">
                  <a:pos x="T2" y="T3"/>
                </a:cxn>
                <a:cxn ang="0">
                  <a:pos x="T4" y="T5"/>
                </a:cxn>
                <a:cxn ang="0">
                  <a:pos x="T6" y="T7"/>
                </a:cxn>
                <a:cxn ang="0">
                  <a:pos x="T8" y="T9"/>
                </a:cxn>
              </a:cxnLst>
              <a:rect l="0" t="0" r="r" b="b"/>
              <a:pathLst>
                <a:path w="729" h="729">
                  <a:moveTo>
                    <a:pt x="104" y="553"/>
                  </a:moveTo>
                  <a:cubicBezTo>
                    <a:pt x="0" y="410"/>
                    <a:pt x="32" y="209"/>
                    <a:pt x="175" y="104"/>
                  </a:cubicBezTo>
                  <a:cubicBezTo>
                    <a:pt x="319" y="0"/>
                    <a:pt x="520" y="32"/>
                    <a:pt x="624" y="175"/>
                  </a:cubicBezTo>
                  <a:cubicBezTo>
                    <a:pt x="729" y="319"/>
                    <a:pt x="697" y="520"/>
                    <a:pt x="553" y="624"/>
                  </a:cubicBezTo>
                  <a:cubicBezTo>
                    <a:pt x="409" y="729"/>
                    <a:pt x="208" y="697"/>
                    <a:pt x="104" y="553"/>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Oval 9">
              <a:extLst>
                <a:ext uri="{FF2B5EF4-FFF2-40B4-BE49-F238E27FC236}">
                  <a16:creationId xmlns:a16="http://schemas.microsoft.com/office/drawing/2014/main" id="{ACB57F3E-E712-D9AF-95F2-52E36EC07FF4}"/>
                </a:ext>
              </a:extLst>
            </p:cNvPr>
            <p:cNvSpPr>
              <a:spLocks noChangeArrowheads="1"/>
            </p:cNvSpPr>
            <p:nvPr/>
          </p:nvSpPr>
          <p:spPr bwMode="auto">
            <a:xfrm>
              <a:off x="4520589" y="1251250"/>
              <a:ext cx="2752809" cy="2835893"/>
            </a:xfrm>
            <a:prstGeom prst="ellipse">
              <a:avLst/>
            </a:pr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3" name="Freeform 11">
              <a:extLst>
                <a:ext uri="{FF2B5EF4-FFF2-40B4-BE49-F238E27FC236}">
                  <a16:creationId xmlns:a16="http://schemas.microsoft.com/office/drawing/2014/main" id="{BED112DA-0292-4F81-8A7A-79F59F214CB5}"/>
                </a:ext>
              </a:extLst>
            </p:cNvPr>
            <p:cNvSpPr>
              <a:spLocks/>
            </p:cNvSpPr>
            <p:nvPr/>
          </p:nvSpPr>
          <p:spPr bwMode="auto">
            <a:xfrm>
              <a:off x="4559811" y="2762750"/>
              <a:ext cx="2359551" cy="2430764"/>
            </a:xfrm>
            <a:custGeom>
              <a:avLst/>
              <a:gdLst>
                <a:gd name="T0" fmla="*/ 388 w 608"/>
                <a:gd name="T1" fmla="*/ 562 h 609"/>
                <a:gd name="T2" fmla="*/ 46 w 608"/>
                <a:gd name="T3" fmla="*/ 388 h 609"/>
                <a:gd name="T4" fmla="*/ 220 w 608"/>
                <a:gd name="T5" fmla="*/ 46 h 609"/>
                <a:gd name="T6" fmla="*/ 562 w 608"/>
                <a:gd name="T7" fmla="*/ 220 h 609"/>
                <a:gd name="T8" fmla="*/ 388 w 608"/>
                <a:gd name="T9" fmla="*/ 562 h 609"/>
              </a:gdLst>
              <a:ahLst/>
              <a:cxnLst>
                <a:cxn ang="0">
                  <a:pos x="T0" y="T1"/>
                </a:cxn>
                <a:cxn ang="0">
                  <a:pos x="T2" y="T3"/>
                </a:cxn>
                <a:cxn ang="0">
                  <a:pos x="T4" y="T5"/>
                </a:cxn>
                <a:cxn ang="0">
                  <a:pos x="T6" y="T7"/>
                </a:cxn>
                <a:cxn ang="0">
                  <a:pos x="T8" y="T9"/>
                </a:cxn>
              </a:cxnLst>
              <a:rect l="0" t="0" r="r" b="b"/>
              <a:pathLst>
                <a:path w="608" h="609">
                  <a:moveTo>
                    <a:pt x="388" y="562"/>
                  </a:moveTo>
                  <a:cubicBezTo>
                    <a:pt x="245" y="609"/>
                    <a:pt x="92" y="531"/>
                    <a:pt x="46" y="388"/>
                  </a:cubicBezTo>
                  <a:cubicBezTo>
                    <a:pt x="0" y="246"/>
                    <a:pt x="78" y="93"/>
                    <a:pt x="220" y="46"/>
                  </a:cubicBezTo>
                  <a:cubicBezTo>
                    <a:pt x="363" y="0"/>
                    <a:pt x="516" y="78"/>
                    <a:pt x="562" y="220"/>
                  </a:cubicBezTo>
                  <a:cubicBezTo>
                    <a:pt x="608" y="363"/>
                    <a:pt x="530" y="516"/>
                    <a:pt x="388" y="5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4" name="Freeform 12">
              <a:extLst>
                <a:ext uri="{FF2B5EF4-FFF2-40B4-BE49-F238E27FC236}">
                  <a16:creationId xmlns:a16="http://schemas.microsoft.com/office/drawing/2014/main" id="{251CF41F-7020-1401-BE8C-0A7977EFD0EB}"/>
                </a:ext>
              </a:extLst>
            </p:cNvPr>
            <p:cNvSpPr>
              <a:spLocks/>
            </p:cNvSpPr>
            <p:nvPr/>
          </p:nvSpPr>
          <p:spPr bwMode="auto">
            <a:xfrm rot="2985336">
              <a:off x="6826208" y="1408253"/>
              <a:ext cx="495530" cy="420691"/>
            </a:xfrm>
            <a:custGeom>
              <a:avLst/>
              <a:gdLst>
                <a:gd name="T0" fmla="*/ 303 w 303"/>
                <a:gd name="T1" fmla="*/ 273 h 273"/>
                <a:gd name="T2" fmla="*/ 153 w 303"/>
                <a:gd name="T3" fmla="*/ 0 h 273"/>
                <a:gd name="T4" fmla="*/ 0 w 303"/>
                <a:gd name="T5" fmla="*/ 273 h 273"/>
                <a:gd name="T6" fmla="*/ 303 w 303"/>
                <a:gd name="T7" fmla="*/ 273 h 273"/>
              </a:gdLst>
              <a:ahLst/>
              <a:cxnLst>
                <a:cxn ang="0">
                  <a:pos x="T0" y="T1"/>
                </a:cxn>
                <a:cxn ang="0">
                  <a:pos x="T2" y="T3"/>
                </a:cxn>
                <a:cxn ang="0">
                  <a:pos x="T4" y="T5"/>
                </a:cxn>
                <a:cxn ang="0">
                  <a:pos x="T6" y="T7"/>
                </a:cxn>
              </a:cxnLst>
              <a:rect l="0" t="0" r="r" b="b"/>
              <a:pathLst>
                <a:path w="303" h="273">
                  <a:moveTo>
                    <a:pt x="303" y="273"/>
                  </a:moveTo>
                  <a:lnTo>
                    <a:pt x="153" y="0"/>
                  </a:lnTo>
                  <a:lnTo>
                    <a:pt x="0" y="273"/>
                  </a:lnTo>
                  <a:lnTo>
                    <a:pt x="303" y="2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5" name="Freeform 13">
              <a:extLst>
                <a:ext uri="{FF2B5EF4-FFF2-40B4-BE49-F238E27FC236}">
                  <a16:creationId xmlns:a16="http://schemas.microsoft.com/office/drawing/2014/main" id="{33243E47-C4E4-E8B4-84A8-6561C6C331C9}"/>
                </a:ext>
              </a:extLst>
            </p:cNvPr>
            <p:cNvSpPr>
              <a:spLocks/>
            </p:cNvSpPr>
            <p:nvPr/>
          </p:nvSpPr>
          <p:spPr bwMode="auto">
            <a:xfrm rot="1572666">
              <a:off x="3200966" y="3537693"/>
              <a:ext cx="488950" cy="461963"/>
            </a:xfrm>
            <a:custGeom>
              <a:avLst/>
              <a:gdLst>
                <a:gd name="T0" fmla="*/ 308 w 308"/>
                <a:gd name="T1" fmla="*/ 0 h 291"/>
                <a:gd name="T2" fmla="*/ 0 w 308"/>
                <a:gd name="T3" fmla="*/ 61 h 291"/>
                <a:gd name="T4" fmla="*/ 214 w 308"/>
                <a:gd name="T5" fmla="*/ 291 h 291"/>
                <a:gd name="T6" fmla="*/ 308 w 308"/>
                <a:gd name="T7" fmla="*/ 0 h 291"/>
              </a:gdLst>
              <a:ahLst/>
              <a:cxnLst>
                <a:cxn ang="0">
                  <a:pos x="T0" y="T1"/>
                </a:cxn>
                <a:cxn ang="0">
                  <a:pos x="T2" y="T3"/>
                </a:cxn>
                <a:cxn ang="0">
                  <a:pos x="T4" y="T5"/>
                </a:cxn>
                <a:cxn ang="0">
                  <a:pos x="T6" y="T7"/>
                </a:cxn>
              </a:cxnLst>
              <a:rect l="0" t="0" r="r" b="b"/>
              <a:pathLst>
                <a:path w="308" h="291">
                  <a:moveTo>
                    <a:pt x="308" y="0"/>
                  </a:moveTo>
                  <a:lnTo>
                    <a:pt x="0" y="61"/>
                  </a:lnTo>
                  <a:lnTo>
                    <a:pt x="214" y="291"/>
                  </a:lnTo>
                  <a:lnTo>
                    <a:pt x="30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7" name="Freeform 15">
              <a:extLst>
                <a:ext uri="{FF2B5EF4-FFF2-40B4-BE49-F238E27FC236}">
                  <a16:creationId xmlns:a16="http://schemas.microsoft.com/office/drawing/2014/main" id="{758B6563-8042-AD2C-A3EC-6618C8F42CA9}"/>
                </a:ext>
              </a:extLst>
            </p:cNvPr>
            <p:cNvSpPr>
              <a:spLocks/>
            </p:cNvSpPr>
            <p:nvPr/>
          </p:nvSpPr>
          <p:spPr bwMode="auto">
            <a:xfrm rot="16446091">
              <a:off x="7616690" y="4036087"/>
              <a:ext cx="464457" cy="482330"/>
            </a:xfrm>
            <a:custGeom>
              <a:avLst/>
              <a:gdLst>
                <a:gd name="T0" fmla="*/ 0 w 284"/>
                <a:gd name="T1" fmla="*/ 180 h 313"/>
                <a:gd name="T2" fmla="*/ 284 w 284"/>
                <a:gd name="T3" fmla="*/ 313 h 313"/>
                <a:gd name="T4" fmla="*/ 247 w 284"/>
                <a:gd name="T5" fmla="*/ 0 h 313"/>
                <a:gd name="T6" fmla="*/ 0 w 284"/>
                <a:gd name="T7" fmla="*/ 180 h 313"/>
              </a:gdLst>
              <a:ahLst/>
              <a:cxnLst>
                <a:cxn ang="0">
                  <a:pos x="T0" y="T1"/>
                </a:cxn>
                <a:cxn ang="0">
                  <a:pos x="T2" y="T3"/>
                </a:cxn>
                <a:cxn ang="0">
                  <a:pos x="T4" y="T5"/>
                </a:cxn>
                <a:cxn ang="0">
                  <a:pos x="T6" y="T7"/>
                </a:cxn>
              </a:cxnLst>
              <a:rect l="0" t="0" r="r" b="b"/>
              <a:pathLst>
                <a:path w="284" h="313">
                  <a:moveTo>
                    <a:pt x="0" y="180"/>
                  </a:moveTo>
                  <a:lnTo>
                    <a:pt x="284" y="313"/>
                  </a:lnTo>
                  <a:lnTo>
                    <a:pt x="247" y="0"/>
                  </a:lnTo>
                  <a:lnTo>
                    <a:pt x="0" y="18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20" name="ZoneTexte 97">
              <a:extLst>
                <a:ext uri="{FF2B5EF4-FFF2-40B4-BE49-F238E27FC236}">
                  <a16:creationId xmlns:a16="http://schemas.microsoft.com/office/drawing/2014/main" id="{80D1AE85-CD57-2F9A-2578-AFBDBCB0E443}"/>
                </a:ext>
              </a:extLst>
            </p:cNvPr>
            <p:cNvSpPr txBox="1"/>
            <p:nvPr/>
          </p:nvSpPr>
          <p:spPr>
            <a:xfrm>
              <a:off x="8334988" y="3450205"/>
              <a:ext cx="3165491" cy="1930943"/>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accent3"/>
                  </a:solidFill>
                  <a:latin typeface="Tahoma" panose="020B0604030504040204" pitchFamily="34" charset="0"/>
                  <a:ea typeface="Tahoma" panose="020B0604030504040204" pitchFamily="34" charset="0"/>
                  <a:cs typeface="Tahoma" panose="020B0604030504040204" pitchFamily="34" charset="0"/>
                </a:rPr>
                <a:t>Partenaires *</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epter le choix d’être référent ou en proposer un autr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nstituer une équipe proje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ompagner la réalisation des projets d’entrepris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Déposer des demandes de subventions pour les entreprises.</a:t>
              </a:r>
            </a:p>
          </p:txBody>
        </p:sp>
        <p:sp>
          <p:nvSpPr>
            <p:cNvPr id="21" name="ZoneTexte 98">
              <a:extLst>
                <a:ext uri="{FF2B5EF4-FFF2-40B4-BE49-F238E27FC236}">
                  <a16:creationId xmlns:a16="http://schemas.microsoft.com/office/drawing/2014/main" id="{32026E40-B57D-9B25-8611-1F3191AE5FFE}"/>
                </a:ext>
              </a:extLst>
            </p:cNvPr>
            <p:cNvSpPr txBox="1"/>
            <p:nvPr/>
          </p:nvSpPr>
          <p:spPr>
            <a:xfrm>
              <a:off x="792593" y="1690763"/>
              <a:ext cx="2286191" cy="3498210"/>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r>
                <a:rPr lang="fr-FR" sz="1200" b="1" dirty="0">
                  <a:solidFill>
                    <a:schemeClr val="accent5"/>
                  </a:solidFill>
                  <a:latin typeface="Tahoma" panose="020B0604030504040204" pitchFamily="34" charset="0"/>
                  <a:ea typeface="Tahoma" panose="020B0604030504040204" pitchFamily="34" charset="0"/>
                  <a:cs typeface="Tahoma" panose="020B0604030504040204" pitchFamily="34" charset="0"/>
                </a:rPr>
                <a:t>Agents du Conseil Régional</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Gérer la relation avec les entreprises et organiser les accompagnements par les partenair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Accéder aux descriptifs des proje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Traiter les demandes de subvention et gérer les paiement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Communiquer sur les événements économiques.</a:t>
              </a:r>
            </a:p>
            <a:p>
              <a:pPr marL="171450" indent="-171450" algn="r">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es indicateurs d’usage de l’ensemble du système d’information Entreprises.</a:t>
              </a:r>
            </a:p>
          </p:txBody>
        </p:sp>
        <p:sp>
          <p:nvSpPr>
            <p:cNvPr id="22" name="ZoneTexte 99">
              <a:extLst>
                <a:ext uri="{FF2B5EF4-FFF2-40B4-BE49-F238E27FC236}">
                  <a16:creationId xmlns:a16="http://schemas.microsoft.com/office/drawing/2014/main" id="{E695CA35-0BE1-73CF-8D32-8F19ADBED89D}"/>
                </a:ext>
              </a:extLst>
            </p:cNvPr>
            <p:cNvSpPr txBox="1"/>
            <p:nvPr/>
          </p:nvSpPr>
          <p:spPr>
            <a:xfrm>
              <a:off x="7631643" y="772916"/>
              <a:ext cx="3683398" cy="183569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sz="1200" b="1" dirty="0">
                  <a:solidFill>
                    <a:schemeClr val="tx2"/>
                  </a:solidFill>
                  <a:latin typeface="Tahoma" panose="020B0604030504040204" pitchFamily="34" charset="0"/>
                  <a:ea typeface="Tahoma" panose="020B0604030504040204" pitchFamily="34" charset="0"/>
                  <a:cs typeface="Tahoma" panose="020B0604030504040204" pitchFamily="34" charset="0"/>
                </a:rPr>
                <a:t>Entreprises</a:t>
              </a:r>
              <a:endParaRPr lang="it-IT" sz="1050" b="1" dirty="0">
                <a:solidFill>
                  <a:schemeClr val="tx2"/>
                </a:solidFill>
                <a:latin typeface="Tahoma" panose="020B0604030504040204" pitchFamily="34" charset="0"/>
                <a:ea typeface="Tahoma" panose="020B0604030504040204" pitchFamily="34" charset="0"/>
                <a:cs typeface="Tahoma" panose="020B0604030504040204" pitchFamily="34" charset="0"/>
              </a:endParaRP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Rechercher des informations sur les subvention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e faire accompagner par un référent.</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Participer au réseau des développeurs économiques.</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Faire la demande de subventions en ligne.</a:t>
              </a:r>
            </a:p>
            <a:p>
              <a:pPr marL="171450" indent="-171450">
                <a:spcAft>
                  <a:spcPts val="600"/>
                </a:spcAft>
                <a:buFont typeface="Arial" panose="020B0604020202020204" pitchFamily="34" charset="0"/>
                <a:buChar char="•"/>
              </a:pPr>
              <a:r>
                <a:rPr lang="fr-FR" sz="1050" dirty="0">
                  <a:latin typeface="Tahoma" panose="020B0604030504040204" pitchFamily="34" charset="0"/>
                  <a:ea typeface="Tahoma" panose="020B0604030504040204" pitchFamily="34" charset="0"/>
                  <a:cs typeface="Tahoma" panose="020B0604030504040204" pitchFamily="34" charset="0"/>
                </a:rPr>
                <a:t>Suivre l’instruction de leurs dossiers.</a:t>
              </a:r>
            </a:p>
          </p:txBody>
        </p:sp>
        <p:sp>
          <p:nvSpPr>
            <p:cNvPr id="24" name="ZoneTexte 102">
              <a:extLst>
                <a:ext uri="{FF2B5EF4-FFF2-40B4-BE49-F238E27FC236}">
                  <a16:creationId xmlns:a16="http://schemas.microsoft.com/office/drawing/2014/main" id="{297B1A84-2E0D-EED2-385A-101862051581}"/>
                </a:ext>
              </a:extLst>
            </p:cNvPr>
            <p:cNvSpPr txBox="1"/>
            <p:nvPr/>
          </p:nvSpPr>
          <p:spPr>
            <a:xfrm>
              <a:off x="4887709" y="3247312"/>
              <a:ext cx="1703753" cy="133347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fr-FR" sz="1200" b="1" dirty="0">
                  <a:latin typeface="Tahoma" panose="020B0604030504040204" pitchFamily="34" charset="0"/>
                  <a:ea typeface="Tahoma" panose="020B0604030504040204" pitchFamily="34" charset="0"/>
                  <a:cs typeface="Tahoma" panose="020B0604030504040204" pitchFamily="34" charset="0"/>
                </a:rPr>
                <a:t>Plateforme Entreprise</a:t>
              </a:r>
              <a:endParaRPr lang="fr-FR" sz="1200" dirty="0">
                <a:latin typeface="Tahoma" panose="020B0604030504040204" pitchFamily="34" charset="0"/>
                <a:ea typeface="Tahoma" panose="020B0604030504040204" pitchFamily="34" charset="0"/>
                <a:cs typeface="Tahoma" panose="020B0604030504040204" pitchFamily="34" charset="0"/>
              </a:endParaRPr>
            </a:p>
            <a:p>
              <a:pPr algn="ctr"/>
              <a:r>
                <a:rPr lang="fr-FR" sz="1050" dirty="0">
                  <a:latin typeface="Tahoma" panose="020B0604030504040204" pitchFamily="34" charset="0"/>
                  <a:ea typeface="Tahoma" panose="020B0604030504040204" pitchFamily="34" charset="0"/>
                  <a:cs typeface="Tahoma" panose="020B0604030504040204" pitchFamily="34" charset="0"/>
                </a:rPr>
                <a:t>Ecosystème Métier, applicatif et technique, qui répond aux besoins des entreprises.</a:t>
              </a:r>
            </a:p>
          </p:txBody>
        </p:sp>
      </p:grpSp>
      <p:sp>
        <p:nvSpPr>
          <p:cNvPr id="5" name="Rectangle 4">
            <a:extLst>
              <a:ext uri="{FF2B5EF4-FFF2-40B4-BE49-F238E27FC236}">
                <a16:creationId xmlns:a16="http://schemas.microsoft.com/office/drawing/2014/main" id="{E93F9911-5992-EB62-E3E0-BDB3644BFDD3}"/>
              </a:ext>
            </a:extLst>
          </p:cNvPr>
          <p:cNvSpPr/>
          <p:nvPr/>
        </p:nvSpPr>
        <p:spPr>
          <a:xfrm>
            <a:off x="8812491" y="6543729"/>
            <a:ext cx="1093509" cy="3142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9F8CE109-CC4E-4B37-F4A8-6B801B3A760F}"/>
              </a:ext>
            </a:extLst>
          </p:cNvPr>
          <p:cNvSpPr txBox="1"/>
          <p:nvPr/>
        </p:nvSpPr>
        <p:spPr>
          <a:xfrm>
            <a:off x="6585875" y="5881958"/>
            <a:ext cx="3320125" cy="830997"/>
          </a:xfrm>
          <a:prstGeom prst="rect">
            <a:avLst/>
          </a:prstGeom>
          <a:solidFill>
            <a:schemeClr val="bg1"/>
          </a:solidFill>
        </p:spPr>
        <p:txBody>
          <a:bodyPr wrap="square" rtlCol="0">
            <a:spAutoFit/>
          </a:bodyPr>
          <a:lstStyle/>
          <a:p>
            <a:r>
              <a:rPr lang="fr-FR" sz="800" b="1" i="1" dirty="0">
                <a:solidFill>
                  <a:schemeClr val="accent3"/>
                </a:solidFill>
              </a:rPr>
              <a:t>* Partenaires : </a:t>
            </a:r>
          </a:p>
          <a:p>
            <a:r>
              <a:rPr lang="fr-FR" sz="800" i="1" dirty="0"/>
              <a:t>Réseau des Chambres de Commerce et d’Industrie,</a:t>
            </a:r>
          </a:p>
          <a:p>
            <a:r>
              <a:rPr lang="fr-FR" sz="800" i="1" dirty="0"/>
              <a:t>Réseau des Chambres de Métiers et de l’Artisanat, </a:t>
            </a:r>
          </a:p>
          <a:p>
            <a:r>
              <a:rPr lang="fr-FR" sz="800" i="1" dirty="0"/>
              <a:t>Agence de développement économique AD’OCC,</a:t>
            </a:r>
          </a:p>
          <a:p>
            <a:r>
              <a:rPr lang="fr-FR" sz="800" i="1" dirty="0"/>
              <a:t>Etablissement Publics de Coopération intercommunale,</a:t>
            </a:r>
          </a:p>
          <a:p>
            <a:r>
              <a:rPr lang="fr-FR" sz="800" i="1" dirty="0"/>
              <a:t>Réseaux spécialisés, etc.</a:t>
            </a:r>
          </a:p>
        </p:txBody>
      </p:sp>
    </p:spTree>
    <p:extLst>
      <p:ext uri="{BB962C8B-B14F-4D97-AF65-F5344CB8AC3E}">
        <p14:creationId xmlns:p14="http://schemas.microsoft.com/office/powerpoint/2010/main" val="329250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8ECE7-63B8-5A4D-31E3-831464F90B68}"/>
              </a:ext>
            </a:extLst>
          </p:cNvPr>
          <p:cNvSpPr>
            <a:spLocks noGrp="1"/>
          </p:cNvSpPr>
          <p:nvPr>
            <p:ph type="ctrTitle"/>
          </p:nvPr>
        </p:nvSpPr>
        <p:spPr>
          <a:xfrm>
            <a:off x="549473" y="697702"/>
            <a:ext cx="7561065" cy="436516"/>
          </a:xfrm>
        </p:spPr>
        <p:txBody>
          <a:bodyPr/>
          <a:lstStyle/>
          <a:p>
            <a:r>
              <a:rPr lang="fr-FR" dirty="0"/>
              <a:t>La plateforme Entreprise</a:t>
            </a:r>
          </a:p>
        </p:txBody>
      </p:sp>
      <p:pic>
        <p:nvPicPr>
          <p:cNvPr id="10" name="Image 9">
            <a:extLst>
              <a:ext uri="{FF2B5EF4-FFF2-40B4-BE49-F238E27FC236}">
                <a16:creationId xmlns:a16="http://schemas.microsoft.com/office/drawing/2014/main" id="{E7662D95-7A74-196C-A4D5-002C14923835}"/>
              </a:ext>
            </a:extLst>
          </p:cNvPr>
          <p:cNvPicPr>
            <a:picLocks noChangeAspect="1"/>
          </p:cNvPicPr>
          <p:nvPr/>
        </p:nvPicPr>
        <p:blipFill>
          <a:blip r:embed="rId2"/>
          <a:stretch>
            <a:fillRect/>
          </a:stretch>
        </p:blipFill>
        <p:spPr>
          <a:xfrm>
            <a:off x="302423" y="1448101"/>
            <a:ext cx="8987628" cy="4712197"/>
          </a:xfrm>
          <a:prstGeom prst="rect">
            <a:avLst/>
          </a:prstGeom>
        </p:spPr>
      </p:pic>
      <p:sp>
        <p:nvSpPr>
          <p:cNvPr id="3" name="ZoneTexte 2">
            <a:extLst>
              <a:ext uri="{FF2B5EF4-FFF2-40B4-BE49-F238E27FC236}">
                <a16:creationId xmlns:a16="http://schemas.microsoft.com/office/drawing/2014/main" id="{CE9A6B5C-DFEA-A7EB-5322-D0C04F83BC44}"/>
              </a:ext>
            </a:extLst>
          </p:cNvPr>
          <p:cNvSpPr txBox="1"/>
          <p:nvPr/>
        </p:nvSpPr>
        <p:spPr>
          <a:xfrm>
            <a:off x="615949" y="6092684"/>
            <a:ext cx="8037117" cy="523220"/>
          </a:xfrm>
          <a:prstGeom prst="rect">
            <a:avLst/>
          </a:prstGeom>
          <a:noFill/>
        </p:spPr>
        <p:txBody>
          <a:bodyPr wrap="square" rtlCol="0">
            <a:spAutoFit/>
          </a:bodyPr>
          <a:lstStyle/>
          <a:p>
            <a:r>
              <a:rPr lang="fr-FR" sz="1400" dirty="0"/>
              <a:t>La </a:t>
            </a:r>
            <a:r>
              <a:rPr lang="fr-FR" sz="1400" b="1" dirty="0"/>
              <a:t>division en plusieurs modules </a:t>
            </a:r>
            <a:r>
              <a:rPr lang="fr-FR" sz="1400" dirty="0"/>
              <a:t>et la prise en compte des </a:t>
            </a:r>
            <a:r>
              <a:rPr lang="fr-FR" sz="1400" b="1" dirty="0"/>
              <a:t>besoins des différentes parties prenantes </a:t>
            </a:r>
            <a:r>
              <a:rPr lang="fr-FR" sz="1400" dirty="0"/>
              <a:t>créent un </a:t>
            </a:r>
            <a:r>
              <a:rPr lang="fr-FR" sz="1400" b="1" dirty="0"/>
              <a:t>écosystème complexe</a:t>
            </a:r>
            <a:r>
              <a:rPr lang="fr-FR" sz="1400" dirty="0"/>
              <a:t>.</a:t>
            </a:r>
          </a:p>
        </p:txBody>
      </p:sp>
      <p:sp>
        <p:nvSpPr>
          <p:cNvPr id="4" name="Rectangle 3">
            <a:extLst>
              <a:ext uri="{FF2B5EF4-FFF2-40B4-BE49-F238E27FC236}">
                <a16:creationId xmlns:a16="http://schemas.microsoft.com/office/drawing/2014/main" id="{E3346F9A-4AB7-8571-B834-F5DFA05870F0}"/>
              </a:ext>
            </a:extLst>
          </p:cNvPr>
          <p:cNvSpPr/>
          <p:nvPr/>
        </p:nvSpPr>
        <p:spPr>
          <a:xfrm>
            <a:off x="302423" y="5467546"/>
            <a:ext cx="3166641" cy="692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F16A7AA-579F-8EDF-FBED-161A5434A388}"/>
              </a:ext>
            </a:extLst>
          </p:cNvPr>
          <p:cNvSpPr/>
          <p:nvPr/>
        </p:nvSpPr>
        <p:spPr>
          <a:xfrm>
            <a:off x="2073897" y="2810758"/>
            <a:ext cx="311085" cy="234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52327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FAC05-9598-85D5-9CEC-C56F718AA7C3}"/>
              </a:ext>
            </a:extLst>
          </p:cNvPr>
          <p:cNvSpPr>
            <a:spLocks noGrp="1"/>
          </p:cNvSpPr>
          <p:nvPr>
            <p:ph type="ctrTitle"/>
          </p:nvPr>
        </p:nvSpPr>
        <p:spPr/>
        <p:txBody>
          <a:bodyPr/>
          <a:lstStyle/>
          <a:p>
            <a:r>
              <a:rPr lang="fr-FR" dirty="0"/>
              <a:t>Hub Entreprendre</a:t>
            </a:r>
          </a:p>
        </p:txBody>
      </p:sp>
      <p:sp>
        <p:nvSpPr>
          <p:cNvPr id="3" name="Espace réservé du texte 2">
            <a:extLst>
              <a:ext uri="{FF2B5EF4-FFF2-40B4-BE49-F238E27FC236}">
                <a16:creationId xmlns:a16="http://schemas.microsoft.com/office/drawing/2014/main" id="{C4E58D8D-33B3-CF12-4330-DE01A7B7C46C}"/>
              </a:ext>
            </a:extLst>
          </p:cNvPr>
          <p:cNvSpPr>
            <a:spLocks noGrp="1"/>
          </p:cNvSpPr>
          <p:nvPr>
            <p:ph type="body" sz="quarter" idx="14"/>
          </p:nvPr>
        </p:nvSpPr>
        <p:spPr>
          <a:xfrm>
            <a:off x="549473" y="2694324"/>
            <a:ext cx="8694148" cy="2767539"/>
          </a:xfrm>
        </p:spPr>
        <p:txBody>
          <a:bodyPr/>
          <a:lstStyle/>
          <a:p>
            <a:pPr marL="0" indent="0">
              <a:buNone/>
            </a:pPr>
            <a:r>
              <a:rPr lang="fr-FR" dirty="0"/>
              <a:t>La Région Occitanie a créé une </a:t>
            </a:r>
            <a:r>
              <a:rPr lang="fr-FR" b="1" dirty="0"/>
              <a:t>plateforme de services en ligne pour accompagner les créateurs, les repreneurs et les chefs d’entreprises.</a:t>
            </a:r>
          </a:p>
          <a:p>
            <a:pPr marL="0" indent="0">
              <a:buNone/>
            </a:pPr>
            <a:br>
              <a:rPr lang="fr-FR" b="1" dirty="0"/>
            </a:br>
            <a:br>
              <a:rPr lang="fr-FR" b="1" dirty="0"/>
            </a:br>
            <a:r>
              <a:rPr lang="fr-FR" dirty="0"/>
              <a:t>Parcours d’accompagnement qui couvre tous leurs projets : </a:t>
            </a:r>
            <a:r>
              <a:rPr lang="fr-FR" i="1" dirty="0"/>
              <a:t>création ou reprise d'entreprises, implantation, croissance, innovation, internationalisation, transmission, etc.</a:t>
            </a:r>
          </a:p>
          <a:p>
            <a:pPr marL="0" indent="0">
              <a:buNone/>
            </a:pPr>
            <a:br>
              <a:rPr lang="fr-FR" i="1" dirty="0"/>
            </a:br>
            <a:br>
              <a:rPr lang="fr-FR" i="1" dirty="0"/>
            </a:br>
            <a:r>
              <a:rPr lang="fr-FR" dirty="0"/>
              <a:t>Objectif prioritaire : </a:t>
            </a:r>
            <a:r>
              <a:rPr lang="fr-FR" b="1" dirty="0"/>
              <a:t>simplifier les démarches des entrepreneurs </a:t>
            </a:r>
            <a:r>
              <a:rPr lang="fr-FR" dirty="0"/>
              <a:t>qui souhaitent </a:t>
            </a:r>
            <a:r>
              <a:rPr lang="fr-FR" b="1" dirty="0"/>
              <a:t>se développer ou s'implanter en Région Occitanie</a:t>
            </a:r>
            <a:r>
              <a:rPr lang="fr-FR" dirty="0"/>
              <a:t>.</a:t>
            </a:r>
          </a:p>
        </p:txBody>
      </p:sp>
      <p:pic>
        <p:nvPicPr>
          <p:cNvPr id="4" name="Image 3">
            <a:extLst>
              <a:ext uri="{FF2B5EF4-FFF2-40B4-BE49-F238E27FC236}">
                <a16:creationId xmlns:a16="http://schemas.microsoft.com/office/drawing/2014/main" id="{C44FE61C-7883-D032-AEDF-EAF6AD6716A6}"/>
              </a:ext>
            </a:extLst>
          </p:cNvPr>
          <p:cNvPicPr>
            <a:picLocks noChangeAspect="1"/>
          </p:cNvPicPr>
          <p:nvPr/>
        </p:nvPicPr>
        <p:blipFill>
          <a:blip r:embed="rId2"/>
          <a:stretch>
            <a:fillRect/>
          </a:stretch>
        </p:blipFill>
        <p:spPr>
          <a:xfrm>
            <a:off x="2916807" y="1540783"/>
            <a:ext cx="2826395" cy="746975"/>
          </a:xfrm>
          <a:prstGeom prst="rect">
            <a:avLst/>
          </a:prstGeom>
        </p:spPr>
      </p:pic>
    </p:spTree>
    <p:extLst>
      <p:ext uri="{BB962C8B-B14F-4D97-AF65-F5344CB8AC3E}">
        <p14:creationId xmlns:p14="http://schemas.microsoft.com/office/powerpoint/2010/main" val="2572830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02F9E-D745-4B7A-467F-53BC6D9FF7DE}"/>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A80016C2-1C3F-39A0-4B2F-BA6730EF38C4}"/>
              </a:ext>
            </a:extLst>
          </p:cNvPr>
          <p:cNvSpPr>
            <a:spLocks noGrp="1"/>
          </p:cNvSpPr>
          <p:nvPr>
            <p:ph type="body" sz="quarter" idx="14"/>
          </p:nvPr>
        </p:nvSpPr>
        <p:spPr>
          <a:xfrm>
            <a:off x="549473" y="1250950"/>
            <a:ext cx="8694148" cy="5577859"/>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1 - [BO HUB] Modification url associée au clic-bouton « contacter un expert de proximité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Hub Entreprendre, il est demandé de faire une mise à jour de l’URL associée au lien « Contacter un expert de proximité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5 - [BO HUB] Extraction des usagers du Hub</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il est demandé d’ajouter une nouvelle carte (non cliquable) « Usagers » avec un bouton « extraire » permettant d’extraire en csv la liste des usagers du hub.</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6 - [BO HUB] ajout des porteurs de projets dans la fiche référent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a:t>
            </a: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Front Back-Office , il est demandé de modifier le tableau portefeuille de la fiche interlocuteur référent, afin d’y faire apparaitre les « porteurs de projets » suivis par l’interlocuteur de la fiche concernée. L’ajout d’une fonction « affecter à un autre référent » sur la fiche interlocuteur doit aussi permettre de changer l’interlocuteur référent d’un porteur de projet.</a:t>
            </a:r>
          </a:p>
        </p:txBody>
      </p:sp>
    </p:spTree>
    <p:extLst>
      <p:ext uri="{BB962C8B-B14F-4D97-AF65-F5344CB8AC3E}">
        <p14:creationId xmlns:p14="http://schemas.microsoft.com/office/powerpoint/2010/main" val="3251860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B50968-FBC9-C625-42D7-F8C8C7647257}"/>
              </a:ext>
            </a:extLst>
          </p:cNvPr>
          <p:cNvSpPr>
            <a:spLocks noGrp="1"/>
          </p:cNvSpPr>
          <p:nvPr>
            <p:ph type="ctrTitle"/>
          </p:nvPr>
        </p:nvSpPr>
        <p:spPr/>
        <p:txBody>
          <a:bodyPr/>
          <a:lstStyle/>
          <a:p>
            <a:r>
              <a:rPr lang="fr-FR" dirty="0"/>
              <a:t>Cahier des charges</a:t>
            </a:r>
          </a:p>
        </p:txBody>
      </p:sp>
      <p:sp>
        <p:nvSpPr>
          <p:cNvPr id="3" name="Espace réservé du texte 2">
            <a:extLst>
              <a:ext uri="{FF2B5EF4-FFF2-40B4-BE49-F238E27FC236}">
                <a16:creationId xmlns:a16="http://schemas.microsoft.com/office/drawing/2014/main" id="{F6C7143D-00F4-B282-DB83-4A535EA86844}"/>
              </a:ext>
            </a:extLst>
          </p:cNvPr>
          <p:cNvSpPr>
            <a:spLocks noGrp="1"/>
          </p:cNvSpPr>
          <p:nvPr>
            <p:ph type="body" sz="quarter" idx="14"/>
          </p:nvPr>
        </p:nvSpPr>
        <p:spPr>
          <a:xfrm>
            <a:off x="549473" y="1989474"/>
            <a:ext cx="8694148" cy="3441185"/>
          </a:xfrm>
        </p:spPr>
        <p:txBody>
          <a:bodyPr/>
          <a:lstStyle/>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7 - [BO HUB] Fonctionnalité d'extraction des dispositifs</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Back-Office, il est demandé dans le menu « Dispositifs » d’ajouter un </a:t>
            </a:r>
            <a:r>
              <a:rPr lang="fr-FR" sz="1800" dirty="0" err="1">
                <a:solidFill>
                  <a:srgbClr val="000000"/>
                </a:solidFill>
                <a:effectLst/>
                <a:latin typeface="Calibri" panose="020F0502020204030204" pitchFamily="34" charset="0"/>
                <a:ea typeface="Verdana" panose="020B0604030504040204" pitchFamily="34" charset="0"/>
                <a:cs typeface="Calibri" panose="020F0502020204030204" pitchFamily="34" charset="0"/>
              </a:rPr>
              <a:t>picto</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cliquable permettant l’extraction de l’ensemble des dispositifs en format CSV.</a:t>
            </a:r>
            <a:endParaRPr lang="fr-FR" sz="1800" dirty="0">
              <a:solidFill>
                <a:srgbClr val="000000"/>
              </a:solidFill>
              <a:latin typeface="Calibri" panose="020F0502020204030204" pitchFamily="34" charset="0"/>
              <a:ea typeface="Verdana" panose="020B0604030504040204" pitchFamily="34" charset="0"/>
              <a:cs typeface="Calibri" panose="020F0502020204030204" pitchFamily="34" charset="0"/>
            </a:endParaRPr>
          </a:p>
          <a:p>
            <a:pPr>
              <a:spcAft>
                <a:spcPts val="1500"/>
              </a:spcAft>
            </a:pPr>
            <a:r>
              <a:rPr lang="fr-FR" sz="1800" b="1" dirty="0">
                <a:solidFill>
                  <a:srgbClr val="F04641"/>
                </a:solidFill>
                <a:effectLst/>
                <a:latin typeface="Calibri" panose="020F0502020204030204" pitchFamily="34" charset="0"/>
                <a:ea typeface="Verdana" panose="020B0604030504040204" pitchFamily="34" charset="0"/>
                <a:cs typeface="Calibri" panose="020F0502020204030204" pitchFamily="34" charset="0"/>
              </a:rPr>
              <a:t>Jira PR8 - [BO HUB] Flux BPI</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p>
          <a:p>
            <a:pPr marL="0" indent="0">
              <a:spcAft>
                <a:spcPts val="1500"/>
              </a:spcAft>
              <a:buNone/>
            </a:pPr>
            <a:r>
              <a:rPr lang="fr-FR" sz="1800" b="1"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Compréhension du besoin </a:t>
            </a: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 Front agent Hub Entreprendre, il est demandé de faire une mise à jour de l’URL du flux BPI des dossiers projecteurs.</a:t>
            </a:r>
            <a:endParaRPr lang="fr-FR" sz="1800"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88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34642B-D102-3764-9272-FD6192B64A59}"/>
              </a:ext>
            </a:extLst>
          </p:cNvPr>
          <p:cNvSpPr>
            <a:spLocks noGrp="1"/>
          </p:cNvSpPr>
          <p:nvPr>
            <p:ph type="ctrTitle"/>
          </p:nvPr>
        </p:nvSpPr>
        <p:spPr/>
        <p:txBody>
          <a:bodyPr/>
          <a:lstStyle/>
          <a:p>
            <a:r>
              <a:rPr lang="fr-FR" dirty="0"/>
              <a:t>Organisation : Squad 3</a:t>
            </a:r>
          </a:p>
        </p:txBody>
      </p:sp>
      <p:sp>
        <p:nvSpPr>
          <p:cNvPr id="3" name="Espace réservé du texte 2">
            <a:extLst>
              <a:ext uri="{FF2B5EF4-FFF2-40B4-BE49-F238E27FC236}">
                <a16:creationId xmlns:a16="http://schemas.microsoft.com/office/drawing/2014/main" id="{2250037D-8D19-2799-1ABF-C1C34BA287AE}"/>
              </a:ext>
            </a:extLst>
          </p:cNvPr>
          <p:cNvSpPr>
            <a:spLocks noGrp="1"/>
          </p:cNvSpPr>
          <p:nvPr>
            <p:ph type="body" sz="quarter" idx="14"/>
          </p:nvPr>
        </p:nvSpPr>
        <p:spPr>
          <a:xfrm>
            <a:off x="549473" y="1589424"/>
            <a:ext cx="8694148" cy="4233197"/>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ascule vers méthod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s SCRUM</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êlée quotidienn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ily-scrum</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point de coordination rapide sur les tâches en cours et sur les difficultés rencontrée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3 questions suggérées par Scrum pour structurer la réun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ai-je fait hier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Que vais-je faire aujourd’hui qui rapproche le produit de l’objectif du sprin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i-je une ou plusieurs difficultés qui m’empêchent d’avancer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0" indent="0">
              <a:buNone/>
            </a:pPr>
            <a:endParaRPr lang="fr-FR" dirty="0"/>
          </a:p>
        </p:txBody>
      </p:sp>
    </p:spTree>
    <p:extLst>
      <p:ext uri="{BB962C8B-B14F-4D97-AF65-F5344CB8AC3E}">
        <p14:creationId xmlns:p14="http://schemas.microsoft.com/office/powerpoint/2010/main" val="752933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C0479D-885E-B836-B743-9E61DAC776CB}"/>
              </a:ext>
            </a:extLst>
          </p:cNvPr>
          <p:cNvSpPr>
            <a:spLocks noGrp="1"/>
          </p:cNvSpPr>
          <p:nvPr>
            <p:ph type="ctrTitle"/>
          </p:nvPr>
        </p:nvSpPr>
        <p:spPr>
          <a:xfrm>
            <a:off x="549473" y="697702"/>
            <a:ext cx="8645327" cy="436516"/>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8AE6202D-EC55-3F30-A3E4-F561815EFC4C}"/>
              </a:ext>
            </a:extLst>
          </p:cNvPr>
          <p:cNvSpPr>
            <a:spLocks noGrp="1"/>
          </p:cNvSpPr>
          <p:nvPr>
            <p:ph type="body" sz="quarter" idx="14"/>
          </p:nvPr>
        </p:nvSpPr>
        <p:spPr>
          <a:xfrm>
            <a:off x="549473" y="1609737"/>
            <a:ext cx="8694148" cy="1515017"/>
          </a:xfrm>
        </p:spPr>
        <p:txBody>
          <a:bodyPr/>
          <a:lstStyle/>
          <a:p>
            <a:pPr marL="0" indent="0">
              <a:buNone/>
            </a:pPr>
            <a:r>
              <a:rPr lang="fr-FR" sz="1800" b="1" dirty="0">
                <a:latin typeface="Calibri" panose="020F0502020204030204" pitchFamily="34" charset="0"/>
                <a:ea typeface="Verdana" panose="020B0604030504040204" pitchFamily="34" charset="0"/>
              </a:rPr>
              <a:t>S</a:t>
            </a:r>
            <a:r>
              <a:rPr lang="fr-FR" sz="1800" b="1" dirty="0">
                <a:effectLst/>
                <a:latin typeface="Calibri" panose="020F0502020204030204" pitchFamily="34" charset="0"/>
                <a:ea typeface="Verdana" panose="020B0604030504040204" pitchFamily="34" charset="0"/>
              </a:rPr>
              <a:t>ession de chiffrage </a:t>
            </a:r>
            <a:r>
              <a:rPr lang="fr-FR" sz="1800" dirty="0">
                <a:effectLst/>
                <a:latin typeface="Calibri" panose="020F0502020204030204" pitchFamily="34" charset="0"/>
                <a:ea typeface="Verdana" panose="020B060403050404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stimer le nombre de jours nécessaires au développement des évolutions.</a:t>
            </a:r>
          </a:p>
          <a:p>
            <a:pPr marL="0" indent="0">
              <a:buNone/>
            </a:pP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0" indent="0">
              <a:buNone/>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Exemple :</a:t>
            </a:r>
            <a:endParaRPr lang="fr-FR" dirty="0"/>
          </a:p>
        </p:txBody>
      </p:sp>
      <p:pic>
        <p:nvPicPr>
          <p:cNvPr id="5" name="Image 4">
            <a:extLst>
              <a:ext uri="{FF2B5EF4-FFF2-40B4-BE49-F238E27FC236}">
                <a16:creationId xmlns:a16="http://schemas.microsoft.com/office/drawing/2014/main" id="{DC28E717-5229-4F09-CE94-2657D918FAB7}"/>
              </a:ext>
            </a:extLst>
          </p:cNvPr>
          <p:cNvPicPr>
            <a:picLocks noChangeAspect="1"/>
          </p:cNvPicPr>
          <p:nvPr/>
        </p:nvPicPr>
        <p:blipFill>
          <a:blip r:embed="rId2"/>
          <a:stretch>
            <a:fillRect/>
          </a:stretch>
        </p:blipFill>
        <p:spPr>
          <a:xfrm>
            <a:off x="457296" y="3289124"/>
            <a:ext cx="8611802" cy="2514951"/>
          </a:xfrm>
          <a:prstGeom prst="rect">
            <a:avLst/>
          </a:prstGeom>
        </p:spPr>
      </p:pic>
    </p:spTree>
    <p:extLst>
      <p:ext uri="{BB962C8B-B14F-4D97-AF65-F5344CB8AC3E}">
        <p14:creationId xmlns:p14="http://schemas.microsoft.com/office/powerpoint/2010/main" val="3672908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C6093-1FF7-DF29-64C9-073D26CC45F6}"/>
              </a:ext>
            </a:extLst>
          </p:cNvPr>
          <p:cNvSpPr>
            <a:spLocks noGrp="1"/>
          </p:cNvSpPr>
          <p:nvPr>
            <p:ph type="ctrTitle"/>
          </p:nvPr>
        </p:nvSpPr>
        <p:spPr>
          <a:xfrm>
            <a:off x="549473" y="697702"/>
            <a:ext cx="77880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A2430F18-D980-FCE0-73F8-724D79B412BE}"/>
              </a:ext>
            </a:extLst>
          </p:cNvPr>
          <p:cNvSpPr>
            <a:spLocks noGrp="1"/>
          </p:cNvSpPr>
          <p:nvPr>
            <p:ph type="body" sz="quarter" idx="14"/>
          </p:nvPr>
        </p:nvSpPr>
        <p:spPr>
          <a:xfrm>
            <a:off x="549473" y="1633874"/>
            <a:ext cx="8694148" cy="1350357"/>
          </a:xfrm>
        </p:spPr>
        <p:txBody>
          <a:bodyPr/>
          <a:lstStyle/>
          <a:p>
            <a:pPr marL="0" indent="0">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organisation du projet a initialement été proposée en suivant la métho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gile/itérativ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 but d’appréhender les besoins des utilisateurs et du client et de permettre à ces derniers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ester le produit au fur et à mesur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situation réell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BBB9FDD0-5028-6F4F-D96F-9E90F48DDFC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62455" y="2984231"/>
            <a:ext cx="6181090" cy="3390462"/>
          </a:xfrm>
          <a:prstGeom prst="rect">
            <a:avLst/>
          </a:prstGeom>
          <a:noFill/>
          <a:ln>
            <a:noFill/>
          </a:ln>
        </p:spPr>
      </p:pic>
    </p:spTree>
    <p:extLst>
      <p:ext uri="{BB962C8B-B14F-4D97-AF65-F5344CB8AC3E}">
        <p14:creationId xmlns:p14="http://schemas.microsoft.com/office/powerpoint/2010/main" val="4065312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8078E-904E-F9FF-35E8-7527EDC27E49}"/>
              </a:ext>
            </a:extLst>
          </p:cNvPr>
          <p:cNvSpPr>
            <a:spLocks noGrp="1"/>
          </p:cNvSpPr>
          <p:nvPr>
            <p:ph type="ctrTitle"/>
          </p:nvPr>
        </p:nvSpPr>
        <p:spPr>
          <a:xfrm>
            <a:off x="549473" y="697702"/>
            <a:ext cx="7902377" cy="858490"/>
          </a:xfrm>
        </p:spPr>
        <p:txBody>
          <a:bodyPr/>
          <a:lstStyle/>
          <a:p>
            <a:r>
              <a:rPr lang="fr-FR" dirty="0"/>
              <a:t>Organisation : projet Hub-Entreprendre </a:t>
            </a:r>
          </a:p>
        </p:txBody>
      </p:sp>
      <p:sp>
        <p:nvSpPr>
          <p:cNvPr id="3" name="Espace réservé du texte 2">
            <a:extLst>
              <a:ext uri="{FF2B5EF4-FFF2-40B4-BE49-F238E27FC236}">
                <a16:creationId xmlns:a16="http://schemas.microsoft.com/office/drawing/2014/main" id="{98A08BD3-CFF1-AA6D-230E-70B276707487}"/>
              </a:ext>
            </a:extLst>
          </p:cNvPr>
          <p:cNvSpPr>
            <a:spLocks noGrp="1"/>
          </p:cNvSpPr>
          <p:nvPr>
            <p:ph type="body" sz="quarter" idx="14"/>
          </p:nvPr>
        </p:nvSpPr>
        <p:spPr>
          <a:xfrm>
            <a:off x="549473" y="1468774"/>
            <a:ext cx="8694148" cy="700435"/>
          </a:xfrm>
        </p:spPr>
        <p:txBody>
          <a:bodyPr/>
          <a:lstStyle/>
          <a:p>
            <a:pPr marL="0" indent="0">
              <a:buNone/>
            </a:pPr>
            <a:r>
              <a:rPr lang="fr-FR" sz="1800" dirty="0">
                <a:solidFill>
                  <a:srgbClr val="000000"/>
                </a:solidFill>
                <a:latin typeface="Calibri" panose="020F0502020204030204" pitchFamily="34" charset="0"/>
                <a:ea typeface="Verdana" panose="020B0604030504040204" pitchFamily="34" charset="0"/>
              </a:rPr>
              <a:t>D</a:t>
            </a:r>
            <a:r>
              <a:rPr lang="fr-FR" sz="1800" dirty="0">
                <a:solidFill>
                  <a:srgbClr val="000000"/>
                </a:solidFill>
                <a:effectLst/>
                <a:latin typeface="Calibri" panose="020F0502020204030204" pitchFamily="34" charset="0"/>
                <a:ea typeface="Verdana" panose="020B0604030504040204" pitchFamily="34" charset="0"/>
              </a:rPr>
              <a:t>emande une plus forte implication du client dans le processus de développement accompagné + contraintes techniques et humaines </a:t>
            </a:r>
            <a:r>
              <a:rPr lang="fr-FR" sz="1800" dirty="0">
                <a:solidFill>
                  <a:srgbClr val="000000"/>
                </a:solidFill>
                <a:effectLst/>
                <a:latin typeface="Calibri" panose="020F0502020204030204" pitchFamily="34" charset="0"/>
                <a:ea typeface="Verdana" panose="020B0604030504040204" pitchFamily="34" charset="0"/>
                <a:sym typeface="Wingdings" panose="05000000000000000000" pitchFamily="2" charset="2"/>
              </a:rPr>
              <a:t></a:t>
            </a:r>
            <a:r>
              <a:rPr lang="fr-FR" sz="1800" dirty="0">
                <a:solidFill>
                  <a:srgbClr val="000000"/>
                </a:solidFill>
                <a:effectLst/>
                <a:latin typeface="Calibri" panose="020F0502020204030204" pitchFamily="34" charset="0"/>
                <a:ea typeface="Verdana" panose="020B0604030504040204" pitchFamily="34" charset="0"/>
              </a:rPr>
              <a:t> Gestion de projet en </a:t>
            </a:r>
            <a:r>
              <a:rPr lang="fr-FR" sz="1800" b="1" dirty="0">
                <a:solidFill>
                  <a:srgbClr val="000000"/>
                </a:solidFill>
                <a:effectLst/>
                <a:latin typeface="Calibri" panose="020F0502020204030204" pitchFamily="34" charset="0"/>
                <a:ea typeface="Verdana" panose="020B0604030504040204" pitchFamily="34" charset="0"/>
              </a:rPr>
              <a:t>cycle en V</a:t>
            </a:r>
            <a:endParaRPr lang="fr-FR" b="1" dirty="0"/>
          </a:p>
        </p:txBody>
      </p:sp>
      <p:pic>
        <p:nvPicPr>
          <p:cNvPr id="4" name="Image 3" descr="Cycle V min">
            <a:extLst>
              <a:ext uri="{FF2B5EF4-FFF2-40B4-BE49-F238E27FC236}">
                <a16:creationId xmlns:a16="http://schemas.microsoft.com/office/drawing/2014/main" id="{981EEB54-AFA5-BF7A-40DE-599D94E1E2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0014" y="2327264"/>
            <a:ext cx="9145971" cy="3944897"/>
          </a:xfrm>
          <a:prstGeom prst="rect">
            <a:avLst/>
          </a:prstGeom>
          <a:noFill/>
          <a:ln>
            <a:noFill/>
          </a:ln>
        </p:spPr>
      </p:pic>
    </p:spTree>
    <p:extLst>
      <p:ext uri="{BB962C8B-B14F-4D97-AF65-F5344CB8AC3E}">
        <p14:creationId xmlns:p14="http://schemas.microsoft.com/office/powerpoint/2010/main" val="4293429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F1445-40B9-9515-3747-72DEAF6FA280}"/>
              </a:ext>
            </a:extLst>
          </p:cNvPr>
          <p:cNvSpPr>
            <a:spLocks noGrp="1"/>
          </p:cNvSpPr>
          <p:nvPr>
            <p:ph type="ctrTitle"/>
          </p:nvPr>
        </p:nvSpPr>
        <p:spPr>
          <a:xfrm>
            <a:off x="361951" y="697702"/>
            <a:ext cx="7748588" cy="597698"/>
          </a:xfrm>
        </p:spPr>
        <p:txBody>
          <a:bodyPr/>
          <a:lstStyle/>
          <a:p>
            <a:r>
              <a:rPr lang="fr-FR" dirty="0"/>
              <a:t>Processus de développement et de test</a:t>
            </a:r>
          </a:p>
        </p:txBody>
      </p:sp>
      <p:sp>
        <p:nvSpPr>
          <p:cNvPr id="3" name="Espace réservé du texte 2">
            <a:extLst>
              <a:ext uri="{FF2B5EF4-FFF2-40B4-BE49-F238E27FC236}">
                <a16:creationId xmlns:a16="http://schemas.microsoft.com/office/drawing/2014/main" id="{90F29F1D-C57F-56F2-1BF7-8A0ACB66E71B}"/>
              </a:ext>
            </a:extLst>
          </p:cNvPr>
          <p:cNvSpPr>
            <a:spLocks noGrp="1"/>
          </p:cNvSpPr>
          <p:nvPr>
            <p:ph type="body" sz="quarter" idx="14"/>
          </p:nvPr>
        </p:nvSpPr>
        <p:spPr>
          <a:xfrm>
            <a:off x="549473" y="1411624"/>
            <a:ext cx="8694148" cy="740959"/>
          </a:xfrm>
        </p:spPr>
        <p:txBody>
          <a:bodyPr/>
          <a:lstStyle/>
          <a:p>
            <a:pPr marL="0" indent="0">
              <a:buNone/>
            </a:pPr>
            <a:r>
              <a:rPr lang="fr-FR" sz="18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 plateformes Microsoft Azure en ligne possédant chacune un rôle très préci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315237C4-6DFE-513D-42CD-3B6DE53405A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7981" y="2152583"/>
            <a:ext cx="6816527" cy="4671750"/>
          </a:xfrm>
          <a:prstGeom prst="rect">
            <a:avLst/>
          </a:prstGeom>
          <a:noFill/>
          <a:ln>
            <a:noFill/>
          </a:ln>
        </p:spPr>
      </p:pic>
    </p:spTree>
    <p:extLst>
      <p:ext uri="{BB962C8B-B14F-4D97-AF65-F5344CB8AC3E}">
        <p14:creationId xmlns:p14="http://schemas.microsoft.com/office/powerpoint/2010/main" val="2745431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42586D-DCBB-FC4C-E57F-DF8AABE3809C}"/>
              </a:ext>
            </a:extLst>
          </p:cNvPr>
          <p:cNvSpPr>
            <a:spLocks noGrp="1"/>
          </p:cNvSpPr>
          <p:nvPr>
            <p:ph type="ctrTitle"/>
          </p:nvPr>
        </p:nvSpPr>
        <p:spPr/>
        <p:txBody>
          <a:bodyPr/>
          <a:lstStyle/>
          <a:p>
            <a:r>
              <a:rPr lang="fr-FR" dirty="0"/>
              <a:t>Sommaire</a:t>
            </a:r>
          </a:p>
        </p:txBody>
      </p:sp>
      <p:sp>
        <p:nvSpPr>
          <p:cNvPr id="3" name="Espace réservé du texte 2">
            <a:extLst>
              <a:ext uri="{FF2B5EF4-FFF2-40B4-BE49-F238E27FC236}">
                <a16:creationId xmlns:a16="http://schemas.microsoft.com/office/drawing/2014/main" id="{6A387EC7-8F08-A7A8-0CF0-8ACD1DD6A097}"/>
              </a:ext>
            </a:extLst>
          </p:cNvPr>
          <p:cNvSpPr>
            <a:spLocks noGrp="1"/>
          </p:cNvSpPr>
          <p:nvPr>
            <p:ph type="body" sz="quarter" idx="10"/>
          </p:nvPr>
        </p:nvSpPr>
        <p:spPr>
          <a:xfrm>
            <a:off x="1215033" y="2583016"/>
            <a:ext cx="6843118" cy="3481644"/>
          </a:xfrm>
        </p:spPr>
        <p:txBody>
          <a:bodyPr/>
          <a:lstStyle/>
          <a:p>
            <a:pPr marL="0" indent="0">
              <a:buNone/>
            </a:pPr>
            <a:r>
              <a:rPr lang="fr-FR" sz="1600" dirty="0"/>
              <a:t>1  	Présentation de l’entreprise Inetum</a:t>
            </a:r>
          </a:p>
          <a:p>
            <a:pPr marL="0" indent="0">
              <a:buNone/>
            </a:pPr>
            <a:r>
              <a:rPr lang="fr-FR" sz="1600" dirty="0"/>
              <a:t>2  	Présentation du Projet</a:t>
            </a:r>
          </a:p>
          <a:p>
            <a:pPr marL="0" indent="0">
              <a:buNone/>
            </a:pPr>
            <a:r>
              <a:rPr lang="fr-FR" sz="1600" dirty="0"/>
              <a:t>3  	Missions annexes</a:t>
            </a:r>
          </a:p>
          <a:p>
            <a:pPr marL="0" indent="0">
              <a:buNone/>
            </a:pPr>
            <a:r>
              <a:rPr lang="fr-FR" sz="1600" dirty="0"/>
              <a:t>4  	Conception fonctionnelle</a:t>
            </a:r>
          </a:p>
          <a:p>
            <a:pPr marL="0" indent="0">
              <a:buNone/>
            </a:pPr>
            <a:r>
              <a:rPr lang="fr-FR" sz="1600" dirty="0"/>
              <a:t>5  	Conception technique</a:t>
            </a:r>
          </a:p>
          <a:p>
            <a:pPr marL="0" indent="0">
              <a:buNone/>
            </a:pPr>
            <a:r>
              <a:rPr lang="fr-FR" sz="1600" dirty="0"/>
              <a:t>6  	Implémentation</a:t>
            </a:r>
          </a:p>
          <a:p>
            <a:pPr marL="0" indent="0">
              <a:buNone/>
            </a:pPr>
            <a:r>
              <a:rPr lang="fr-FR" sz="1600" dirty="0"/>
              <a:t>7  	Sécurité</a:t>
            </a:r>
          </a:p>
          <a:p>
            <a:pPr marL="0" indent="0">
              <a:buNone/>
            </a:pPr>
            <a:r>
              <a:rPr lang="fr-FR" sz="1600" dirty="0"/>
              <a:t>8  	Déploiement</a:t>
            </a:r>
          </a:p>
          <a:p>
            <a:pPr marL="0" indent="0">
              <a:buNone/>
            </a:pPr>
            <a:r>
              <a:rPr lang="fr-FR" sz="1600" dirty="0"/>
              <a:t>9   	Tests</a:t>
            </a:r>
          </a:p>
          <a:p>
            <a:pPr marL="0" indent="0">
              <a:buNone/>
            </a:pPr>
            <a:r>
              <a:rPr lang="fr-FR" sz="1600" dirty="0"/>
              <a:t>10  	Bilan du projet</a:t>
            </a:r>
          </a:p>
          <a:p>
            <a:endParaRPr lang="fr-FR" sz="1600" dirty="0"/>
          </a:p>
        </p:txBody>
      </p:sp>
    </p:spTree>
    <p:extLst>
      <p:ext uri="{BB962C8B-B14F-4D97-AF65-F5344CB8AC3E}">
        <p14:creationId xmlns:p14="http://schemas.microsoft.com/office/powerpoint/2010/main" val="2654770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756EF6-56EC-818F-B9F2-12CE8CABBA99}"/>
              </a:ext>
            </a:extLst>
          </p:cNvPr>
          <p:cNvSpPr>
            <a:spLocks noGrp="1"/>
          </p:cNvSpPr>
          <p:nvPr>
            <p:ph type="ctrTitle"/>
          </p:nvPr>
        </p:nvSpPr>
        <p:spPr/>
        <p:txBody>
          <a:bodyPr/>
          <a:lstStyle/>
          <a:p>
            <a:r>
              <a:rPr lang="fr-FR" dirty="0"/>
              <a:t>Gestion des versions</a:t>
            </a:r>
          </a:p>
        </p:txBody>
      </p:sp>
      <p:sp>
        <p:nvSpPr>
          <p:cNvPr id="3" name="Espace réservé du texte 2">
            <a:extLst>
              <a:ext uri="{FF2B5EF4-FFF2-40B4-BE49-F238E27FC236}">
                <a16:creationId xmlns:a16="http://schemas.microsoft.com/office/drawing/2014/main" id="{5121710E-D9E4-B1E2-7085-E94D8A2B9E63}"/>
              </a:ext>
            </a:extLst>
          </p:cNvPr>
          <p:cNvSpPr>
            <a:spLocks noGrp="1"/>
          </p:cNvSpPr>
          <p:nvPr>
            <p:ph type="body" sz="quarter" idx="14"/>
          </p:nvPr>
        </p:nvSpPr>
        <p:spPr>
          <a:xfrm>
            <a:off x="234950" y="1552958"/>
            <a:ext cx="9008671" cy="2345501"/>
          </a:xfrm>
        </p:spPr>
        <p:txBody>
          <a:bodyPr/>
          <a:lstStyle/>
          <a:p>
            <a:pPr marL="0" indent="0">
              <a:spcAft>
                <a:spcPts val="1500"/>
              </a:spcAft>
              <a:buNone/>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util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la plateform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itLab</a:t>
            </a:r>
          </a:p>
          <a:p>
            <a:pPr marL="0" indent="0">
              <a:spcAft>
                <a:spcPts val="1500"/>
              </a:spcAft>
              <a:buNone/>
            </a:pPr>
            <a:r>
              <a:rPr lang="fr-FR" sz="1800" dirty="0">
                <a:effectLst/>
                <a:latin typeface="Calibri" panose="020F0502020204030204" pitchFamily="34" charset="0"/>
                <a:ea typeface="Verdana" panose="020B0604030504040204" pitchFamily="34" charset="0"/>
              </a:rPr>
              <a:t>A chaque merge un pipeline est lancé déployant la nouvelle version du projet sur la plateforme correspondante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D</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veloppemen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CI </a:t>
            </a:r>
          </a:p>
          <a:p>
            <a:pPr marL="285750" indent="-2857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Master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sym typeface="Wingdings" panose="05000000000000000000" pitchFamily="2" charset="2"/>
              </a:rPr>
              <a: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lateforme VAL</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BC7098EA-AB10-A706-DA37-5E37DC0EBB9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3931" y="3930400"/>
            <a:ext cx="5510708" cy="2749283"/>
          </a:xfrm>
          <a:prstGeom prst="rect">
            <a:avLst/>
          </a:prstGeom>
          <a:noFill/>
          <a:ln>
            <a:noFill/>
          </a:ln>
        </p:spPr>
      </p:pic>
    </p:spTree>
    <p:extLst>
      <p:ext uri="{BB962C8B-B14F-4D97-AF65-F5344CB8AC3E}">
        <p14:creationId xmlns:p14="http://schemas.microsoft.com/office/powerpoint/2010/main" val="33649836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58AB1-7413-A85A-5B3C-2DD796F5141E}"/>
              </a:ext>
            </a:extLst>
          </p:cNvPr>
          <p:cNvSpPr>
            <a:spLocks noGrp="1"/>
          </p:cNvSpPr>
          <p:nvPr>
            <p:ph type="ctrTitle"/>
          </p:nvPr>
        </p:nvSpPr>
        <p:spPr/>
        <p:txBody>
          <a:bodyPr/>
          <a:lstStyle/>
          <a:p>
            <a:r>
              <a:rPr lang="fr-FR" dirty="0"/>
              <a:t>Environnement technique</a:t>
            </a:r>
          </a:p>
        </p:txBody>
      </p:sp>
      <p:sp>
        <p:nvSpPr>
          <p:cNvPr id="21" name="AutoShape 40" descr="Microsoft Azure est le cloud le plus flexible et le plus puissant">
            <a:extLst>
              <a:ext uri="{FF2B5EF4-FFF2-40B4-BE49-F238E27FC236}">
                <a16:creationId xmlns:a16="http://schemas.microsoft.com/office/drawing/2014/main" id="{233D5A23-85EB-9B82-3333-E04633B8699E}"/>
              </a:ext>
            </a:extLst>
          </p:cNvPr>
          <p:cNvSpPr>
            <a:spLocks noChangeAspect="1" noChangeArrowheads="1"/>
          </p:cNvSpPr>
          <p:nvPr/>
        </p:nvSpPr>
        <p:spPr bwMode="auto">
          <a:xfrm>
            <a:off x="5621978" y="3560573"/>
            <a:ext cx="278619" cy="2786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aphicFrame>
        <p:nvGraphicFramePr>
          <p:cNvPr id="22" name="Diagramme 21">
            <a:extLst>
              <a:ext uri="{FF2B5EF4-FFF2-40B4-BE49-F238E27FC236}">
                <a16:creationId xmlns:a16="http://schemas.microsoft.com/office/drawing/2014/main" id="{32E709FE-FD85-CADA-B196-CEAA13BBA84E}"/>
              </a:ext>
            </a:extLst>
          </p:cNvPr>
          <p:cNvGraphicFramePr/>
          <p:nvPr/>
        </p:nvGraphicFramePr>
        <p:xfrm>
          <a:off x="79078" y="1241646"/>
          <a:ext cx="9144806" cy="5174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3" name="Picture 2" descr="spring-boot-logo - Atomrace">
            <a:extLst>
              <a:ext uri="{FF2B5EF4-FFF2-40B4-BE49-F238E27FC236}">
                <a16:creationId xmlns:a16="http://schemas.microsoft.com/office/drawing/2014/main" id="{E785C0E2-3D86-1784-913F-5D7C2437B2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5778" y="1259021"/>
            <a:ext cx="1074881" cy="5643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Java Logo - Marques et logos: histoire et signification | PNG">
            <a:extLst>
              <a:ext uri="{FF2B5EF4-FFF2-40B4-BE49-F238E27FC236}">
                <a16:creationId xmlns:a16="http://schemas.microsoft.com/office/drawing/2014/main" id="{3FDFE029-0C4F-81E7-2D2C-C044171C42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17390" y="1742375"/>
            <a:ext cx="1074881" cy="6076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885B14B0-70A6-F374-31E8-AC61F864E3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85778" y="2495635"/>
            <a:ext cx="1138106" cy="288083"/>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e 25">
            <a:extLst>
              <a:ext uri="{FF2B5EF4-FFF2-40B4-BE49-F238E27FC236}">
                <a16:creationId xmlns:a16="http://schemas.microsoft.com/office/drawing/2014/main" id="{EF866A1E-1E34-F127-F1AC-645829A35224}"/>
              </a:ext>
            </a:extLst>
          </p:cNvPr>
          <p:cNvGrpSpPr/>
          <p:nvPr/>
        </p:nvGrpSpPr>
        <p:grpSpPr>
          <a:xfrm>
            <a:off x="7909822" y="4732098"/>
            <a:ext cx="1250837" cy="490860"/>
            <a:chOff x="8301554" y="4101346"/>
            <a:chExt cx="1250837" cy="490860"/>
          </a:xfrm>
        </p:grpSpPr>
        <p:pic>
          <p:nvPicPr>
            <p:cNvPr id="27" name="Picture 38" descr="PostgreSQL — Wikipédia">
              <a:extLst>
                <a:ext uri="{FF2B5EF4-FFF2-40B4-BE49-F238E27FC236}">
                  <a16:creationId xmlns:a16="http://schemas.microsoft.com/office/drawing/2014/main" id="{F35B6D25-65F4-3CF2-9510-B5D53C1B9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1554" y="4101346"/>
              <a:ext cx="475748" cy="4908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Microsoft Azure Logo - Marques et logos: histoire et signification | PNG">
              <a:extLst>
                <a:ext uri="{FF2B5EF4-FFF2-40B4-BE49-F238E27FC236}">
                  <a16:creationId xmlns:a16="http://schemas.microsoft.com/office/drawing/2014/main" id="{00D1E984-3562-6AB2-101A-948E380B16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44696" y="4134751"/>
              <a:ext cx="707695" cy="4001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50">
            <a:extLst>
              <a:ext uri="{FF2B5EF4-FFF2-40B4-BE49-F238E27FC236}">
                <a16:creationId xmlns:a16="http://schemas.microsoft.com/office/drawing/2014/main" id="{FEF6EED1-57A2-6524-951D-80105186DC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35806" y="5377021"/>
            <a:ext cx="1106703" cy="26284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Case Study: Azure Kubernetes Service | by Gaurav Gupta | Medium">
            <a:extLst>
              <a:ext uri="{FF2B5EF4-FFF2-40B4-BE49-F238E27FC236}">
                <a16:creationId xmlns:a16="http://schemas.microsoft.com/office/drawing/2014/main" id="{AE538280-FBB2-D319-7624-9749BFC1B2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20005" y="5868674"/>
            <a:ext cx="1004692" cy="46566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Elasticsearch logo [ Download - Logo - icon ] png svg">
            <a:extLst>
              <a:ext uri="{FF2B5EF4-FFF2-40B4-BE49-F238E27FC236}">
                <a16:creationId xmlns:a16="http://schemas.microsoft.com/office/drawing/2014/main" id="{1F27EF6F-6229-EE65-BCF9-B7D9D23D6C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518" y="2609129"/>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Using Hot Module Replacement in Angular 11 - DEV Community">
            <a:extLst>
              <a:ext uri="{FF2B5EF4-FFF2-40B4-BE49-F238E27FC236}">
                <a16:creationId xmlns:a16="http://schemas.microsoft.com/office/drawing/2014/main" id="{93F07026-80F9-5FBF-C09E-97BF531FCC7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73505" y="3478261"/>
            <a:ext cx="1104493" cy="6212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Bootstrap (framework) — Wikipédia">
            <a:extLst>
              <a:ext uri="{FF2B5EF4-FFF2-40B4-BE49-F238E27FC236}">
                <a16:creationId xmlns:a16="http://schemas.microsoft.com/office/drawing/2014/main" id="{0757A705-887D-8B51-22B8-0B8EB92A993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1076" y="4169561"/>
            <a:ext cx="562550" cy="448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663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029D-0D3F-DCA9-2E10-955A16D5D699}"/>
              </a:ext>
            </a:extLst>
          </p:cNvPr>
          <p:cNvSpPr>
            <a:spLocks noGrp="1"/>
          </p:cNvSpPr>
          <p:nvPr>
            <p:ph type="ctrTitle"/>
          </p:nvPr>
        </p:nvSpPr>
        <p:spPr>
          <a:xfrm>
            <a:off x="549473" y="697702"/>
            <a:ext cx="7561065" cy="436516"/>
          </a:xfrm>
        </p:spPr>
        <p:txBody>
          <a:bodyPr/>
          <a:lstStyle/>
          <a:p>
            <a:r>
              <a:rPr lang="fr-FR" dirty="0"/>
              <a:t>Echéances et répartition des tâches</a:t>
            </a:r>
          </a:p>
        </p:txBody>
      </p:sp>
      <p:sp>
        <p:nvSpPr>
          <p:cNvPr id="3" name="Espace réservé du texte 2">
            <a:extLst>
              <a:ext uri="{FF2B5EF4-FFF2-40B4-BE49-F238E27FC236}">
                <a16:creationId xmlns:a16="http://schemas.microsoft.com/office/drawing/2014/main" id="{4C7331B4-3B4A-7938-ACD2-E574637FC691}"/>
              </a:ext>
            </a:extLst>
          </p:cNvPr>
          <p:cNvSpPr>
            <a:spLocks noGrp="1"/>
          </p:cNvSpPr>
          <p:nvPr>
            <p:ph type="body" sz="quarter" idx="14"/>
          </p:nvPr>
        </p:nvSpPr>
        <p:spPr>
          <a:xfrm>
            <a:off x="549473" y="1989474"/>
            <a:ext cx="8694148" cy="1734564"/>
          </a:xfrm>
        </p:spPr>
        <p:txBody>
          <a:bodyPr/>
          <a:lstStyle/>
          <a:p>
            <a:pPr marL="0" indent="0">
              <a:buNone/>
            </a:pPr>
            <a:r>
              <a:rPr lang="fr-FR" b="1" dirty="0"/>
              <a:t>Lancement</a:t>
            </a:r>
            <a:r>
              <a:rPr lang="fr-FR" dirty="0"/>
              <a:t> 11/07/2022</a:t>
            </a:r>
          </a:p>
          <a:p>
            <a:pPr marL="0" indent="0">
              <a:buNone/>
            </a:pPr>
            <a:r>
              <a:rPr lang="fr-FR" b="1" dirty="0"/>
              <a:t>Démonstration auprès du client </a:t>
            </a:r>
            <a:r>
              <a:rPr lang="fr-FR" dirty="0"/>
              <a:t>16/08/2022</a:t>
            </a:r>
          </a:p>
          <a:p>
            <a:pPr marL="0" indent="0">
              <a:buNone/>
            </a:pPr>
            <a:r>
              <a:rPr lang="fr-FR" b="1" dirty="0"/>
              <a:t>Mise en recette </a:t>
            </a:r>
            <a:r>
              <a:rPr lang="fr-FR" dirty="0"/>
              <a:t>19/08/2022</a:t>
            </a:r>
          </a:p>
          <a:p>
            <a:pPr marL="0" indent="0">
              <a:buNone/>
            </a:pPr>
            <a:r>
              <a:rPr lang="fr-FR" b="1" dirty="0"/>
              <a:t>Mise en production </a:t>
            </a:r>
            <a:r>
              <a:rPr lang="fr-FR" dirty="0"/>
              <a:t>29/08/2022</a:t>
            </a:r>
          </a:p>
          <a:p>
            <a:pPr marL="0" indent="0">
              <a:buNone/>
            </a:pPr>
            <a:endParaRPr lang="fr-FR" dirty="0"/>
          </a:p>
        </p:txBody>
      </p:sp>
      <p:pic>
        <p:nvPicPr>
          <p:cNvPr id="4" name="Image 3">
            <a:extLst>
              <a:ext uri="{FF2B5EF4-FFF2-40B4-BE49-F238E27FC236}">
                <a16:creationId xmlns:a16="http://schemas.microsoft.com/office/drawing/2014/main" id="{2C0A8762-B0B2-9F93-96B6-E1A22F201A15}"/>
              </a:ext>
            </a:extLst>
          </p:cNvPr>
          <p:cNvPicPr>
            <a:picLocks noChangeAspect="1"/>
          </p:cNvPicPr>
          <p:nvPr/>
        </p:nvPicPr>
        <p:blipFill>
          <a:blip r:embed="rId2"/>
          <a:stretch>
            <a:fillRect/>
          </a:stretch>
        </p:blipFill>
        <p:spPr>
          <a:xfrm>
            <a:off x="169920" y="4013200"/>
            <a:ext cx="9677521" cy="1974849"/>
          </a:xfrm>
          <a:prstGeom prst="rect">
            <a:avLst/>
          </a:prstGeom>
        </p:spPr>
      </p:pic>
    </p:spTree>
    <p:extLst>
      <p:ext uri="{BB962C8B-B14F-4D97-AF65-F5344CB8AC3E}">
        <p14:creationId xmlns:p14="http://schemas.microsoft.com/office/powerpoint/2010/main" val="3126423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7C47B3-67E1-4611-B488-1A5FD4288CB9}"/>
              </a:ext>
            </a:extLst>
          </p:cNvPr>
          <p:cNvSpPr>
            <a:spLocks noGrp="1"/>
          </p:cNvSpPr>
          <p:nvPr>
            <p:ph type="ctrTitle"/>
          </p:nvPr>
        </p:nvSpPr>
        <p:spPr/>
        <p:txBody>
          <a:bodyPr/>
          <a:lstStyle/>
          <a:p>
            <a:r>
              <a:rPr lang="fr-FR" dirty="0"/>
              <a:t>Productions attendues</a:t>
            </a:r>
          </a:p>
        </p:txBody>
      </p:sp>
      <p:sp>
        <p:nvSpPr>
          <p:cNvPr id="3" name="Espace réservé du texte 2">
            <a:extLst>
              <a:ext uri="{FF2B5EF4-FFF2-40B4-BE49-F238E27FC236}">
                <a16:creationId xmlns:a16="http://schemas.microsoft.com/office/drawing/2014/main" id="{133ADD68-7983-868B-CEF4-BA7E23680BD2}"/>
              </a:ext>
            </a:extLst>
          </p:cNvPr>
          <p:cNvSpPr>
            <a:spLocks noGrp="1"/>
          </p:cNvSpPr>
          <p:nvPr>
            <p:ph type="body" sz="quarter" idx="14"/>
          </p:nvPr>
        </p:nvSpPr>
        <p:spPr>
          <a:xfrm>
            <a:off x="549473" y="1989474"/>
            <a:ext cx="8694148" cy="2972724"/>
          </a:xfrm>
        </p:spPr>
        <p:txBody>
          <a:bodyPr/>
          <a:lstStyle/>
          <a:p>
            <a:pPr marL="0" indent="0">
              <a:buNone/>
            </a:pPr>
            <a:r>
              <a:rPr lang="fr-FR" dirty="0"/>
              <a:t>Initialement :</a:t>
            </a:r>
          </a:p>
          <a:p>
            <a:pPr marL="0" indent="0">
              <a:buNone/>
            </a:pPr>
            <a:br>
              <a:rPr lang="fr-FR" dirty="0"/>
            </a:br>
            <a:r>
              <a:rPr lang="fr-FR" dirty="0"/>
              <a:t>Livraison de la </a:t>
            </a:r>
            <a:r>
              <a:rPr lang="fr-FR" b="1" dirty="0"/>
              <a:t>nouvelle version de l’application contenant les évolutifs demandés </a:t>
            </a:r>
            <a:r>
              <a:rPr lang="fr-FR" dirty="0"/>
              <a:t>avec les </a:t>
            </a:r>
            <a:r>
              <a:rPr lang="fr-FR" b="1" dirty="0"/>
              <a:t>documents techniques </a:t>
            </a:r>
            <a:r>
              <a:rPr lang="fr-FR" dirty="0"/>
              <a:t>associés.</a:t>
            </a:r>
          </a:p>
          <a:p>
            <a:pPr marL="0" indent="0">
              <a:buNone/>
            </a:pPr>
            <a:endParaRPr lang="fr-FR" dirty="0"/>
          </a:p>
          <a:p>
            <a:pPr marL="0" indent="0">
              <a:buNone/>
            </a:pPr>
            <a:endParaRPr lang="fr-FR" dirty="0"/>
          </a:p>
          <a:p>
            <a:pPr marL="0" indent="0">
              <a:buNone/>
            </a:pPr>
            <a:br>
              <a:rPr lang="fr-FR" dirty="0"/>
            </a:br>
            <a:r>
              <a:rPr lang="fr-FR" dirty="0"/>
              <a:t>Evolution de la demande du client + contraintes techniques importantes :</a:t>
            </a:r>
            <a:br>
              <a:rPr lang="fr-FR" dirty="0"/>
            </a:br>
            <a:br>
              <a:rPr lang="fr-FR" dirty="0"/>
            </a:br>
            <a:r>
              <a:rPr lang="fr-FR" dirty="0"/>
              <a:t>Livraison </a:t>
            </a:r>
            <a:r>
              <a:rPr lang="fr-FR" b="1" dirty="0"/>
              <a:t>d’une partie des évolutions </a:t>
            </a:r>
            <a:r>
              <a:rPr lang="fr-FR" dirty="0"/>
              <a:t>et les </a:t>
            </a:r>
            <a:r>
              <a:rPr lang="fr-FR" b="1" dirty="0"/>
              <a:t>documents techniques correspondants</a:t>
            </a:r>
            <a:r>
              <a:rPr lang="fr-FR" dirty="0"/>
              <a:t>.</a:t>
            </a:r>
          </a:p>
        </p:txBody>
      </p:sp>
    </p:spTree>
    <p:extLst>
      <p:ext uri="{BB962C8B-B14F-4D97-AF65-F5344CB8AC3E}">
        <p14:creationId xmlns:p14="http://schemas.microsoft.com/office/powerpoint/2010/main" val="4267776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6FB80-898E-EFAB-EBEA-819D3C8DDDAD}"/>
              </a:ext>
            </a:extLst>
          </p:cNvPr>
          <p:cNvSpPr>
            <a:spLocks noGrp="1"/>
          </p:cNvSpPr>
          <p:nvPr>
            <p:ph type="ctrTitle"/>
          </p:nvPr>
        </p:nvSpPr>
        <p:spPr/>
        <p:txBody>
          <a:bodyPr/>
          <a:lstStyle/>
          <a:p>
            <a:r>
              <a:rPr lang="fr-FR" dirty="0"/>
              <a:t>Contraintes du projet</a:t>
            </a:r>
          </a:p>
        </p:txBody>
      </p:sp>
      <p:sp>
        <p:nvSpPr>
          <p:cNvPr id="3" name="Espace réservé du texte 2">
            <a:extLst>
              <a:ext uri="{FF2B5EF4-FFF2-40B4-BE49-F238E27FC236}">
                <a16:creationId xmlns:a16="http://schemas.microsoft.com/office/drawing/2014/main" id="{FD2EE92B-98FF-CB87-E9C0-CA7A11E6B70C}"/>
              </a:ext>
            </a:extLst>
          </p:cNvPr>
          <p:cNvSpPr>
            <a:spLocks noGrp="1"/>
          </p:cNvSpPr>
          <p:nvPr>
            <p:ph type="body" sz="quarter" idx="14"/>
          </p:nvPr>
        </p:nvSpPr>
        <p:spPr>
          <a:xfrm>
            <a:off x="549472" y="1240174"/>
            <a:ext cx="8759627" cy="5270404"/>
          </a:xfrm>
        </p:spPr>
        <p:txBody>
          <a:bodyPr/>
          <a:lstStyle/>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S</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u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pour mettre en œuvre, sur un temps limité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4 semain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plicatio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mplex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t sans un interlocuteur fonctionnel qui maitrise le périmètre de l’application.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riode de réversibilité pendant le transfert des connaissances a été minime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ocumentation de conception, d’installation et d’utilisation est incomplète, fausse ou inexistant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P</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ersonne dans l’équipe n’avait encore développé sur l’application Hub Entreprendre ni même lancé en loca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sz="1800" b="1"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traintes techniques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stallation d’environnement, pas de configuration pour le déploiement et de connexion avec les nombreuses API, expiration des certificats, droits insuffisants sachant que l’application tournait déjà en productio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74638" indent="-285750">
              <a:spcAft>
                <a:spcPts val="1500"/>
              </a:spcAft>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J</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mais réussi à lancer l’application en local malgré l’intervention d’experts d’autres équipes d’Inetum et je développais donc en aveugl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endParaRPr lang="fr-FR" dirty="0"/>
          </a:p>
        </p:txBody>
      </p:sp>
    </p:spTree>
    <p:extLst>
      <p:ext uri="{BB962C8B-B14F-4D97-AF65-F5344CB8AC3E}">
        <p14:creationId xmlns:p14="http://schemas.microsoft.com/office/powerpoint/2010/main" val="1389705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02436-C542-1A8B-0550-0BBEA698395E}"/>
              </a:ext>
            </a:extLst>
          </p:cNvPr>
          <p:cNvSpPr>
            <a:spLocks noGrp="1"/>
          </p:cNvSpPr>
          <p:nvPr>
            <p:ph type="title"/>
          </p:nvPr>
        </p:nvSpPr>
        <p:spPr/>
        <p:txBody>
          <a:bodyPr/>
          <a:lstStyle/>
          <a:p>
            <a:r>
              <a:rPr lang="fr-FR" dirty="0"/>
              <a:t>Missions annexes</a:t>
            </a:r>
          </a:p>
        </p:txBody>
      </p:sp>
      <p:sp>
        <p:nvSpPr>
          <p:cNvPr id="5" name="Espace réservé du texte 4">
            <a:extLst>
              <a:ext uri="{FF2B5EF4-FFF2-40B4-BE49-F238E27FC236}">
                <a16:creationId xmlns:a16="http://schemas.microsoft.com/office/drawing/2014/main" id="{049C8C0C-2197-B947-98B1-1D686B3C3C69}"/>
              </a:ext>
            </a:extLst>
          </p:cNvPr>
          <p:cNvSpPr>
            <a:spLocks noGrp="1"/>
          </p:cNvSpPr>
          <p:nvPr>
            <p:ph type="body" sz="quarter" idx="13"/>
          </p:nvPr>
        </p:nvSpPr>
        <p:spPr/>
        <p:txBody>
          <a:bodyPr/>
          <a:lstStyle/>
          <a:p>
            <a:r>
              <a:rPr lang="fr-FR" dirty="0"/>
              <a:t>03</a:t>
            </a:r>
          </a:p>
        </p:txBody>
      </p:sp>
      <p:pic>
        <p:nvPicPr>
          <p:cNvPr id="6" name="Image 5">
            <a:extLst>
              <a:ext uri="{FF2B5EF4-FFF2-40B4-BE49-F238E27FC236}">
                <a16:creationId xmlns:a16="http://schemas.microsoft.com/office/drawing/2014/main" id="{2054F99F-D89F-BE75-6B3D-0C4D94603D1F}"/>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1024432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46719-CF4E-5D32-7D5A-19CABD762B1B}"/>
              </a:ext>
            </a:extLst>
          </p:cNvPr>
          <p:cNvSpPr>
            <a:spLocks noGrp="1"/>
          </p:cNvSpPr>
          <p:nvPr>
            <p:ph type="ctrTitle"/>
          </p:nvPr>
        </p:nvSpPr>
        <p:spPr/>
        <p:txBody>
          <a:bodyPr/>
          <a:lstStyle/>
          <a:p>
            <a:r>
              <a:rPr lang="fr-FR" dirty="0"/>
              <a:t>CARL Source – Education et Port</a:t>
            </a:r>
          </a:p>
        </p:txBody>
      </p:sp>
      <p:sp>
        <p:nvSpPr>
          <p:cNvPr id="3" name="Espace réservé du texte 2">
            <a:extLst>
              <a:ext uri="{FF2B5EF4-FFF2-40B4-BE49-F238E27FC236}">
                <a16:creationId xmlns:a16="http://schemas.microsoft.com/office/drawing/2014/main" id="{13A5737F-AC31-CB1C-3E72-2713A62AE8C1}"/>
              </a:ext>
            </a:extLst>
          </p:cNvPr>
          <p:cNvSpPr>
            <a:spLocks noGrp="1"/>
          </p:cNvSpPr>
          <p:nvPr>
            <p:ph type="body" sz="quarter" idx="14"/>
          </p:nvPr>
        </p:nvSpPr>
        <p:spPr>
          <a:xfrm>
            <a:off x="549473" y="1367174"/>
            <a:ext cx="8765977" cy="1757648"/>
          </a:xfrm>
        </p:spPr>
        <p:txBody>
          <a:bodyPr/>
          <a:lstStyle/>
          <a:p>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GMAO</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Gestion de maintenance assistée par ordinateur) destiné aux différents secteurs de l’industrie, du tertiaire, des institutions publiques, etc.</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But</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 : A</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sister quotidiennement les servic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nce </a:t>
            </a:r>
            <a:r>
              <a:rPr lang="fr-FR" sz="1800" b="1" dirty="0">
                <a:effectLst/>
                <a:latin typeface="Calibri" panose="020F0502020204030204" pitchFamily="34" charset="0"/>
                <a:ea typeface="Verdana" panose="020B0604030504040204" pitchFamily="34" charset="0"/>
              </a:rPr>
              <a:t>des lycées et des ports de la région Occitani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dans leurs mission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en adéquation avec les nouvelles technologie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descr="Une image contenant texte&#10;&#10;Description générée automatiquement">
            <a:extLst>
              <a:ext uri="{FF2B5EF4-FFF2-40B4-BE49-F238E27FC236}">
                <a16:creationId xmlns:a16="http://schemas.microsoft.com/office/drawing/2014/main" id="{94F95BC2-5D2C-F02A-45EB-F226359A1CD1}"/>
              </a:ext>
            </a:extLst>
          </p:cNvPr>
          <p:cNvPicPr>
            <a:picLocks noChangeAspect="1"/>
          </p:cNvPicPr>
          <p:nvPr/>
        </p:nvPicPr>
        <p:blipFill>
          <a:blip r:embed="rId2"/>
          <a:stretch>
            <a:fillRect/>
          </a:stretch>
        </p:blipFill>
        <p:spPr>
          <a:xfrm>
            <a:off x="1241622" y="2966085"/>
            <a:ext cx="7400727" cy="3653048"/>
          </a:xfrm>
          <a:prstGeom prst="rect">
            <a:avLst/>
          </a:prstGeom>
        </p:spPr>
      </p:pic>
    </p:spTree>
    <p:extLst>
      <p:ext uri="{BB962C8B-B14F-4D97-AF65-F5344CB8AC3E}">
        <p14:creationId xmlns:p14="http://schemas.microsoft.com/office/powerpoint/2010/main" val="6843585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942FA1D-292A-4B97-E10C-6330F68255FA}"/>
              </a:ext>
            </a:extLst>
          </p:cNvPr>
          <p:cNvSpPr>
            <a:spLocks noGrp="1"/>
          </p:cNvSpPr>
          <p:nvPr>
            <p:ph type="body" sz="quarter" idx="14"/>
          </p:nvPr>
        </p:nvSpPr>
        <p:spPr>
          <a:xfrm>
            <a:off x="549473" y="1371496"/>
            <a:ext cx="8694148" cy="5208336"/>
          </a:xfrm>
        </p:spPr>
        <p:txBody>
          <a:bodyPr/>
          <a:lstStyle/>
          <a:p>
            <a:pPr>
              <a:spcAft>
                <a:spcPts val="1500"/>
              </a:spcAft>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ARL Source est édité par « CARL software » qui est propriétaire du code source et je n’avais pas accès au code sourc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ckets incidents reçus sur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W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doivent être résolus dans le temps imparti suivant ses priorités (1 à 3 jours) pour ne pas payer des pénalité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 solution à ces tickets concernait pour la plupart à :</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C</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onfigurations via L’IHM du logiciel grâce à un accès super Admin</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E</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hanges avec l’éditeur via des tickets d’incid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p>
          <a:p>
            <a:pPr marL="285750" indent="-285750">
              <a:spcAft>
                <a:spcPts val="1500"/>
              </a:spcAft>
              <a:buFont typeface="Arial" panose="020B0604020202020204" pitchFamily="34" charset="0"/>
              <a:buChar char="•"/>
            </a:pP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I</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nterventions sur la BDD de CARL via des requêtes SQL</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J’ai dû apprendre le contexte métier et analyser le BDD pour enfin construire les requêtes SQL dont j’avais besoin.</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
        <p:nvSpPr>
          <p:cNvPr id="2" name="Titre 1">
            <a:extLst>
              <a:ext uri="{FF2B5EF4-FFF2-40B4-BE49-F238E27FC236}">
                <a16:creationId xmlns:a16="http://schemas.microsoft.com/office/drawing/2014/main" id="{6422FF7D-0A52-B97F-8863-4CB25BA34035}"/>
              </a:ext>
            </a:extLst>
          </p:cNvPr>
          <p:cNvSpPr>
            <a:spLocks noGrp="1"/>
          </p:cNvSpPr>
          <p:nvPr>
            <p:ph type="ctrTitle"/>
          </p:nvPr>
        </p:nvSpPr>
        <p:spPr>
          <a:xfrm>
            <a:off x="549473" y="697702"/>
            <a:ext cx="7561065" cy="436516"/>
          </a:xfrm>
        </p:spPr>
        <p:txBody>
          <a:bodyPr/>
          <a:lstStyle/>
          <a:p>
            <a:r>
              <a:rPr lang="fr-FR" dirty="0"/>
              <a:t>CARL Source – Education et Port</a:t>
            </a:r>
          </a:p>
        </p:txBody>
      </p:sp>
    </p:spTree>
    <p:extLst>
      <p:ext uri="{BB962C8B-B14F-4D97-AF65-F5344CB8AC3E}">
        <p14:creationId xmlns:p14="http://schemas.microsoft.com/office/powerpoint/2010/main" val="1071337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DE54B06-0D11-07F7-92B6-AF47CD9E7FCF}"/>
              </a:ext>
            </a:extLst>
          </p:cNvPr>
          <p:cNvPicPr>
            <a:picLocks noChangeAspect="1"/>
          </p:cNvPicPr>
          <p:nvPr/>
        </p:nvPicPr>
        <p:blipFill>
          <a:blip r:embed="rId2"/>
          <a:stretch>
            <a:fillRect/>
          </a:stretch>
        </p:blipFill>
        <p:spPr>
          <a:xfrm>
            <a:off x="163036" y="848210"/>
            <a:ext cx="9285764" cy="5326583"/>
          </a:xfrm>
          <a:prstGeom prst="rect">
            <a:avLst/>
          </a:prstGeom>
        </p:spPr>
      </p:pic>
    </p:spTree>
    <p:extLst>
      <p:ext uri="{BB962C8B-B14F-4D97-AF65-F5344CB8AC3E}">
        <p14:creationId xmlns:p14="http://schemas.microsoft.com/office/powerpoint/2010/main" val="13916933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243C1582-1C2B-C2CC-2F99-BF37043D7E3B}"/>
              </a:ext>
            </a:extLst>
          </p:cNvPr>
          <p:cNvSpPr>
            <a:spLocks noGrp="1"/>
          </p:cNvSpPr>
          <p:nvPr>
            <p:ph type="body" sz="quarter" idx="13"/>
          </p:nvPr>
        </p:nvSpPr>
        <p:spPr/>
        <p:txBody>
          <a:bodyPr/>
          <a:lstStyle/>
          <a:p>
            <a:r>
              <a:rPr lang="fr-FR" dirty="0"/>
              <a:t>04</a:t>
            </a:r>
          </a:p>
        </p:txBody>
      </p:sp>
      <p:sp>
        <p:nvSpPr>
          <p:cNvPr id="4" name="Titre 3">
            <a:extLst>
              <a:ext uri="{FF2B5EF4-FFF2-40B4-BE49-F238E27FC236}">
                <a16:creationId xmlns:a16="http://schemas.microsoft.com/office/drawing/2014/main" id="{D24ADFAA-9D1A-54F2-8D46-2FACBC0EC66B}"/>
              </a:ext>
            </a:extLst>
          </p:cNvPr>
          <p:cNvSpPr>
            <a:spLocks noGrp="1"/>
          </p:cNvSpPr>
          <p:nvPr>
            <p:ph type="title"/>
          </p:nvPr>
        </p:nvSpPr>
        <p:spPr/>
        <p:txBody>
          <a:bodyPr/>
          <a:lstStyle/>
          <a:p>
            <a:r>
              <a:rPr lang="fr-FR" dirty="0"/>
              <a:t>Conception fonctionnelle</a:t>
            </a:r>
          </a:p>
        </p:txBody>
      </p:sp>
      <p:pic>
        <p:nvPicPr>
          <p:cNvPr id="10" name="Image 9">
            <a:extLst>
              <a:ext uri="{FF2B5EF4-FFF2-40B4-BE49-F238E27FC236}">
                <a16:creationId xmlns:a16="http://schemas.microsoft.com/office/drawing/2014/main" id="{8E77133D-C15B-C373-A4E2-BA5FFE2D5B0A}"/>
              </a:ext>
            </a:extLst>
          </p:cNvPr>
          <p:cNvPicPr>
            <a:picLocks noChangeAspect="1"/>
          </p:cNvPicPr>
          <p:nvPr/>
        </p:nvPicPr>
        <p:blipFill>
          <a:blip r:embed="rId2"/>
          <a:stretch>
            <a:fillRect/>
          </a:stretch>
        </p:blipFill>
        <p:spPr>
          <a:xfrm>
            <a:off x="7659175" y="6064250"/>
            <a:ext cx="2246825" cy="793750"/>
          </a:xfrm>
          <a:prstGeom prst="rect">
            <a:avLst/>
          </a:prstGeom>
        </p:spPr>
      </p:pic>
    </p:spTree>
    <p:extLst>
      <p:ext uri="{BB962C8B-B14F-4D97-AF65-F5344CB8AC3E}">
        <p14:creationId xmlns:p14="http://schemas.microsoft.com/office/powerpoint/2010/main" val="17806055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5F4B639-9EC2-9D12-E91C-D4155DF9713A}"/>
              </a:ext>
            </a:extLst>
          </p:cNvPr>
          <p:cNvSpPr>
            <a:spLocks noGrp="1"/>
          </p:cNvSpPr>
          <p:nvPr>
            <p:ph type="title"/>
          </p:nvPr>
        </p:nvSpPr>
        <p:spPr/>
        <p:txBody>
          <a:bodyPr/>
          <a:lstStyle/>
          <a:p>
            <a:r>
              <a:rPr lang="fr-FR" dirty="0"/>
              <a:t>Présentation de l’entreprise</a:t>
            </a:r>
          </a:p>
        </p:txBody>
      </p:sp>
      <p:sp>
        <p:nvSpPr>
          <p:cNvPr id="5" name="Espace réservé du texte 4">
            <a:extLst>
              <a:ext uri="{FF2B5EF4-FFF2-40B4-BE49-F238E27FC236}">
                <a16:creationId xmlns:a16="http://schemas.microsoft.com/office/drawing/2014/main" id="{2B2E19D0-294F-8EAE-808D-A5F67E58FB65}"/>
              </a:ext>
            </a:extLst>
          </p:cNvPr>
          <p:cNvSpPr>
            <a:spLocks noGrp="1"/>
          </p:cNvSpPr>
          <p:nvPr>
            <p:ph type="body" sz="quarter" idx="13"/>
          </p:nvPr>
        </p:nvSpPr>
        <p:spPr/>
        <p:txBody>
          <a:bodyPr/>
          <a:lstStyle/>
          <a:p>
            <a:r>
              <a:rPr lang="fr-FR" dirty="0"/>
              <a:t>01</a:t>
            </a:r>
          </a:p>
        </p:txBody>
      </p:sp>
      <p:pic>
        <p:nvPicPr>
          <p:cNvPr id="6" name="Image 5">
            <a:extLst>
              <a:ext uri="{FF2B5EF4-FFF2-40B4-BE49-F238E27FC236}">
                <a16:creationId xmlns:a16="http://schemas.microsoft.com/office/drawing/2014/main" id="{C8275BDC-4095-77AD-C4FD-FA0397A3778A}"/>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373596488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5CCDE1-B9FB-3F39-1BFF-DDD943ECDF8F}"/>
              </a:ext>
            </a:extLst>
          </p:cNvPr>
          <p:cNvSpPr>
            <a:spLocks noGrp="1"/>
          </p:cNvSpPr>
          <p:nvPr>
            <p:ph type="ctrTitle"/>
          </p:nvPr>
        </p:nvSpPr>
        <p:spPr/>
        <p:txBody>
          <a:bodyPr/>
          <a:lstStyle/>
          <a:p>
            <a:r>
              <a:rPr lang="fr-FR" dirty="0"/>
              <a:t>Pourquoi Conception fonctionnelle ?</a:t>
            </a:r>
          </a:p>
        </p:txBody>
      </p:sp>
      <p:sp>
        <p:nvSpPr>
          <p:cNvPr id="3" name="Espace réservé du texte 2">
            <a:extLst>
              <a:ext uri="{FF2B5EF4-FFF2-40B4-BE49-F238E27FC236}">
                <a16:creationId xmlns:a16="http://schemas.microsoft.com/office/drawing/2014/main" id="{ADC8DADB-AC3F-435A-7C7B-2A089643A1B5}"/>
              </a:ext>
            </a:extLst>
          </p:cNvPr>
          <p:cNvSpPr>
            <a:spLocks noGrp="1"/>
          </p:cNvSpPr>
          <p:nvPr>
            <p:ph type="body" sz="quarter" idx="14"/>
          </p:nvPr>
        </p:nvSpPr>
        <p:spPr>
          <a:xfrm>
            <a:off x="549473" y="1494174"/>
            <a:ext cx="8694148" cy="3551215"/>
          </a:xfrm>
        </p:spPr>
        <p:txBody>
          <a:bodyPr/>
          <a:lstStyle/>
          <a:p>
            <a:r>
              <a:rPr lang="fr-FR" sz="1800" dirty="0">
                <a:effectLst/>
                <a:latin typeface="Calibri" panose="020F0502020204030204" pitchFamily="34" charset="0"/>
                <a:ea typeface="Verdana" panose="020B0604030504040204" pitchFamily="34" charset="0"/>
              </a:rPr>
              <a:t>La conception fonctionnelle permet de bien définir l’application </a:t>
            </a:r>
            <a:r>
              <a:rPr lang="fr-FR" sz="1800" b="1" dirty="0">
                <a:effectLst/>
                <a:latin typeface="Calibri" panose="020F0502020204030204" pitchFamily="34" charset="0"/>
                <a:ea typeface="Verdana" panose="020B0604030504040204" pitchFamily="34" charset="0"/>
              </a:rPr>
              <a:t>du point de vue de l’utilisateur. </a:t>
            </a:r>
          </a:p>
          <a:p>
            <a:r>
              <a:rPr lang="fr-FR" sz="1800" dirty="0">
                <a:effectLst/>
                <a:latin typeface="Calibri" panose="020F0502020204030204" pitchFamily="34" charset="0"/>
                <a:ea typeface="Verdana" panose="020B0604030504040204" pitchFamily="34" charset="0"/>
              </a:rPr>
              <a:t>Le langage graphique de </a:t>
            </a:r>
            <a:r>
              <a:rPr lang="fr-FR" sz="1800" b="1" dirty="0">
                <a:effectLst/>
                <a:latin typeface="Calibri" panose="020F0502020204030204" pitchFamily="34" charset="0"/>
                <a:ea typeface="Verdana" panose="020B0604030504040204" pitchFamily="34" charset="0"/>
              </a:rPr>
              <a:t>modélisation UML</a:t>
            </a:r>
            <a:r>
              <a:rPr lang="fr-FR" sz="1800" dirty="0">
                <a:effectLst/>
                <a:latin typeface="Calibri" panose="020F0502020204030204" pitchFamily="34" charset="0"/>
                <a:ea typeface="Verdana" panose="020B0604030504040204" pitchFamily="34" charset="0"/>
              </a:rPr>
              <a:t> a été utilisé pour décrire les spécifications fonctionnelles du projet. </a:t>
            </a:r>
          </a:p>
          <a:p>
            <a:r>
              <a:rPr lang="fr-FR" u="sng" dirty="0"/>
              <a:t>Etapes :</a:t>
            </a:r>
          </a:p>
          <a:p>
            <a:pPr marL="285750" indent="-285750">
              <a:buFont typeface="Arial" panose="020B0604020202020204" pitchFamily="34" charset="0"/>
              <a:buChar char="•"/>
            </a:pPr>
            <a:r>
              <a:rPr lang="fr-FR" dirty="0"/>
              <a:t>Analyse du besoin : contexte et objectif, analyse de l’existant (acteurs, partenaires et dépendances, fonctionnalités, cas d’usage, IHM)</a:t>
            </a:r>
          </a:p>
          <a:p>
            <a:pPr marL="285750" indent="-285750">
              <a:buFont typeface="Arial" panose="020B0604020202020204" pitchFamily="34" charset="0"/>
              <a:buChar char="•"/>
            </a:pPr>
            <a:r>
              <a:rPr lang="fr-FR" dirty="0"/>
              <a:t>Ma mission : spécification fonctionnelles détaillées, maquettes, format des fichiers, cas d’usage</a:t>
            </a:r>
          </a:p>
          <a:p>
            <a:pPr marL="285750" indent="-285750">
              <a:buFont typeface="Arial" panose="020B0604020202020204" pitchFamily="34" charset="0"/>
              <a:buChar char="•"/>
            </a:pPr>
            <a:r>
              <a:rPr lang="fr-FR" dirty="0"/>
              <a:t>Besoin non fonctionnels </a:t>
            </a:r>
            <a:br>
              <a:rPr lang="fr-FR" dirty="0"/>
            </a:br>
            <a:endParaRPr lang="fr-FR" dirty="0"/>
          </a:p>
        </p:txBody>
      </p:sp>
    </p:spTree>
    <p:extLst>
      <p:ext uri="{BB962C8B-B14F-4D97-AF65-F5344CB8AC3E}">
        <p14:creationId xmlns:p14="http://schemas.microsoft.com/office/powerpoint/2010/main" val="14766293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F16473-C9DF-3D4F-1934-FF8BF62C16B0}"/>
              </a:ext>
            </a:extLst>
          </p:cNvPr>
          <p:cNvSpPr>
            <a:spLocks noGrp="1"/>
          </p:cNvSpPr>
          <p:nvPr>
            <p:ph type="ctrTitle"/>
          </p:nvPr>
        </p:nvSpPr>
        <p:spPr/>
        <p:txBody>
          <a:bodyPr/>
          <a:lstStyle/>
          <a:p>
            <a:r>
              <a:rPr lang="fr-FR" dirty="0"/>
              <a:t>Analyse du besoin – Hub Entreprendre</a:t>
            </a:r>
          </a:p>
        </p:txBody>
      </p:sp>
      <p:sp>
        <p:nvSpPr>
          <p:cNvPr id="3" name="Espace réservé du texte 2">
            <a:extLst>
              <a:ext uri="{FF2B5EF4-FFF2-40B4-BE49-F238E27FC236}">
                <a16:creationId xmlns:a16="http://schemas.microsoft.com/office/drawing/2014/main" id="{A995A62C-E66D-ADA2-4939-7EDFE563E242}"/>
              </a:ext>
            </a:extLst>
          </p:cNvPr>
          <p:cNvSpPr>
            <a:spLocks noGrp="1"/>
          </p:cNvSpPr>
          <p:nvPr>
            <p:ph type="body" sz="quarter" idx="14"/>
          </p:nvPr>
        </p:nvSpPr>
        <p:spPr>
          <a:xfrm>
            <a:off x="549473" y="1989474"/>
            <a:ext cx="8694148" cy="3588918"/>
          </a:xfrm>
        </p:spPr>
        <p:txBody>
          <a:bodyPr/>
          <a:lstStyle/>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nalyse du besoin permet d’identifier 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ttentes des utilisateur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fin de décrire</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rocessus métier</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ns lequel l’application informatique à développer devra intervenir</a:t>
            </a:r>
          </a:p>
          <a:p>
            <a:pPr marL="285750" indent="-285750">
              <a:buFont typeface="Arial" panose="020B0604020202020204" pitchFamily="34" charset="0"/>
              <a:buChar char="•"/>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es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âches prises en charge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r cette application</a:t>
            </a:r>
          </a:p>
          <a:p>
            <a:pPr marL="285750" indent="-285750">
              <a:buFont typeface="Arial" panose="020B0604020202020204" pitchFamily="34" charset="0"/>
              <a:buChar char="•"/>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ses</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teraction avec les différents intervenants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eurs et éventuellement avec les autres systèmes informatiques). </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ur cela, j’ai organisé un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échange sur team-speak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une représentante du métier coté Région Occitanie pour qu’elle puisse m’expliquer en détail les processus métier et les attentes sur les améliorations que je dois implémenter.</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68160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7FE6EF-202E-A7D1-C7D9-C097A0BA9869}"/>
              </a:ext>
            </a:extLst>
          </p:cNvPr>
          <p:cNvSpPr>
            <a:spLocks noGrp="1"/>
          </p:cNvSpPr>
          <p:nvPr>
            <p:ph type="ctrTitle"/>
          </p:nvPr>
        </p:nvSpPr>
        <p:spPr/>
        <p:txBody>
          <a:bodyPr/>
          <a:lstStyle/>
          <a:p>
            <a:r>
              <a:rPr lang="fr-FR" dirty="0"/>
              <a:t>Contexte et objectifs du Hub</a:t>
            </a:r>
          </a:p>
        </p:txBody>
      </p:sp>
      <p:sp>
        <p:nvSpPr>
          <p:cNvPr id="3" name="Espace réservé du texte 2">
            <a:extLst>
              <a:ext uri="{FF2B5EF4-FFF2-40B4-BE49-F238E27FC236}">
                <a16:creationId xmlns:a16="http://schemas.microsoft.com/office/drawing/2014/main" id="{3220B842-DB1B-4065-F317-B4D9AEC8C268}"/>
              </a:ext>
            </a:extLst>
          </p:cNvPr>
          <p:cNvSpPr>
            <a:spLocks noGrp="1"/>
          </p:cNvSpPr>
          <p:nvPr>
            <p:ph type="body" sz="quarter" idx="14"/>
          </p:nvPr>
        </p:nvSpPr>
        <p:spPr>
          <a:xfrm>
            <a:off x="549473" y="1373524"/>
            <a:ext cx="8694148" cy="5939305"/>
          </a:xfrm>
        </p:spPr>
        <p:txBody>
          <a:bodyPr/>
          <a:lstStyle/>
          <a:p>
            <a:r>
              <a:rPr lang="fr-FR" b="1" dirty="0"/>
              <a:t>Qui ? </a:t>
            </a:r>
          </a:p>
          <a:p>
            <a:pPr marL="285750" indent="-285750">
              <a:buFont typeface="Arial" panose="020B0604020202020204" pitchFamily="34" charset="0"/>
              <a:buChar char="•"/>
            </a:pPr>
            <a:r>
              <a:rPr lang="fr-FR" b="1" dirty="0"/>
              <a:t>créateurs</a:t>
            </a:r>
            <a:r>
              <a:rPr lang="fr-FR" dirty="0"/>
              <a:t>, </a:t>
            </a:r>
            <a:r>
              <a:rPr lang="fr-FR" b="1" dirty="0"/>
              <a:t>repreneurs</a:t>
            </a:r>
            <a:r>
              <a:rPr lang="fr-FR" dirty="0"/>
              <a:t> et </a:t>
            </a:r>
            <a:r>
              <a:rPr lang="fr-FR" b="1" dirty="0"/>
              <a:t>chefs d'entreprises</a:t>
            </a:r>
          </a:p>
          <a:p>
            <a:pPr marL="285750" indent="-285750">
              <a:buFont typeface="Arial" panose="020B0604020202020204" pitchFamily="34" charset="0"/>
              <a:buChar char="•"/>
            </a:pPr>
            <a:r>
              <a:rPr lang="fr-FR" b="1" dirty="0"/>
              <a:t>Le Réseau des Développeurs Economiques </a:t>
            </a:r>
            <a:r>
              <a:rPr lang="fr-FR" dirty="0"/>
              <a:t>Occitanie intégré territorialisé piloté par la Région (400 structures et 1.600 membres) </a:t>
            </a:r>
          </a:p>
          <a:p>
            <a:endParaRPr lang="fr-FR" dirty="0"/>
          </a:p>
          <a:p>
            <a:r>
              <a:rPr lang="fr-FR" dirty="0"/>
              <a:t>Chaque membre dispose d’un </a:t>
            </a:r>
            <a:r>
              <a:rPr lang="fr-FR" b="1" dirty="0"/>
              <a:t>espace partenaire </a:t>
            </a:r>
            <a:r>
              <a:rPr lang="fr-FR" dirty="0"/>
              <a:t>dans le Hub qui lui permet : </a:t>
            </a:r>
          </a:p>
          <a:p>
            <a:pPr marL="285750" indent="-285750">
              <a:buFont typeface="Arial" panose="020B0604020202020204" pitchFamily="34" charset="0"/>
              <a:buChar char="•"/>
            </a:pPr>
            <a:r>
              <a:rPr lang="fr-FR" dirty="0"/>
              <a:t>D'obtenir des informations sur les </a:t>
            </a:r>
            <a:r>
              <a:rPr lang="fr-FR" b="1" dirty="0"/>
              <a:t>aides et appels à projets des financeurs </a:t>
            </a:r>
          </a:p>
          <a:p>
            <a:pPr marL="285750" indent="-285750">
              <a:buFont typeface="Arial" panose="020B0604020202020204" pitchFamily="34" charset="0"/>
              <a:buChar char="•"/>
            </a:pPr>
            <a:r>
              <a:rPr lang="fr-FR" dirty="0"/>
              <a:t>De consulter les </a:t>
            </a:r>
            <a:r>
              <a:rPr lang="fr-FR" b="1" dirty="0"/>
              <a:t>actualités de la Région et les évènements économiques </a:t>
            </a:r>
          </a:p>
          <a:p>
            <a:pPr marL="285750" indent="-285750">
              <a:buFont typeface="Arial" panose="020B0604020202020204" pitchFamily="34" charset="0"/>
              <a:buChar char="•"/>
            </a:pPr>
            <a:r>
              <a:rPr lang="fr-FR" dirty="0"/>
              <a:t>De bénéficier d’un espace personnalisé pour accéder : </a:t>
            </a:r>
          </a:p>
          <a:p>
            <a:endParaRPr lang="fr-FR" dirty="0"/>
          </a:p>
          <a:p>
            <a:pPr marL="461250" lvl="7" indent="-285750">
              <a:buFont typeface="Wingdings" panose="05000000000000000000" pitchFamily="2" charset="2"/>
              <a:buChar char="Ø"/>
            </a:pPr>
            <a:r>
              <a:rPr lang="fr-FR" sz="1400" dirty="0"/>
              <a:t>À un référent</a:t>
            </a:r>
          </a:p>
          <a:p>
            <a:pPr marL="461250" lvl="7" indent="-285750">
              <a:buFont typeface="Wingdings" panose="05000000000000000000" pitchFamily="2" charset="2"/>
              <a:buChar char="Ø"/>
            </a:pPr>
            <a:r>
              <a:rPr lang="fr-FR" sz="1400" dirty="0"/>
              <a:t>À un parcours qui lui permettra d’identifier le(s) financement(s) adapté(s) à son projet. </a:t>
            </a:r>
          </a:p>
          <a:p>
            <a:pPr marL="461250" lvl="7" indent="-285750">
              <a:buFont typeface="Wingdings" panose="05000000000000000000" pitchFamily="2" charset="2"/>
              <a:buChar char="Ø"/>
            </a:pPr>
            <a:r>
              <a:rPr lang="fr-FR" sz="1400" dirty="0"/>
              <a:t>À des actualités et évènements relatifs à sa ou ses filières. </a:t>
            </a:r>
          </a:p>
          <a:p>
            <a:pPr marL="461250" lvl="7" indent="-285750">
              <a:buFont typeface="Wingdings" panose="05000000000000000000" pitchFamily="2" charset="2"/>
              <a:buChar char="Ø"/>
            </a:pPr>
            <a:r>
              <a:rPr lang="fr-FR" sz="1400" dirty="0"/>
              <a:t>Au dépôt en ligne des demandes d’aide.</a:t>
            </a:r>
          </a:p>
          <a:p>
            <a:pPr marL="461250" lvl="7" indent="-285750">
              <a:buFont typeface="Wingdings" panose="05000000000000000000" pitchFamily="2" charset="2"/>
              <a:buChar char="Ø"/>
            </a:pPr>
            <a:r>
              <a:rPr lang="fr-FR" sz="1400" dirty="0"/>
              <a:t>Au suivi de l’état d’avancement des dossiers déposés. </a:t>
            </a:r>
          </a:p>
          <a:p>
            <a:r>
              <a:rPr lang="fr-FR" dirty="0"/>
              <a:t> </a:t>
            </a:r>
          </a:p>
          <a:p>
            <a:endParaRPr lang="fr-FR" dirty="0"/>
          </a:p>
          <a:p>
            <a:endParaRPr lang="fr-FR" dirty="0"/>
          </a:p>
        </p:txBody>
      </p:sp>
    </p:spTree>
    <p:extLst>
      <p:ext uri="{BB962C8B-B14F-4D97-AF65-F5344CB8AC3E}">
        <p14:creationId xmlns:p14="http://schemas.microsoft.com/office/powerpoint/2010/main" val="1602079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558E8-4AEC-2DCF-94C6-D5951B82F986}"/>
              </a:ext>
            </a:extLst>
          </p:cNvPr>
          <p:cNvSpPr>
            <a:spLocks noGrp="1"/>
          </p:cNvSpPr>
          <p:nvPr>
            <p:ph type="ctrTitle"/>
          </p:nvPr>
        </p:nvSpPr>
        <p:spPr/>
        <p:txBody>
          <a:bodyPr/>
          <a:lstStyle/>
          <a:p>
            <a:r>
              <a:rPr lang="fr-FR" dirty="0"/>
              <a:t>Analyse de l’existant du Hub</a:t>
            </a:r>
          </a:p>
        </p:txBody>
      </p:sp>
      <p:sp>
        <p:nvSpPr>
          <p:cNvPr id="3" name="Espace réservé du texte 2">
            <a:extLst>
              <a:ext uri="{FF2B5EF4-FFF2-40B4-BE49-F238E27FC236}">
                <a16:creationId xmlns:a16="http://schemas.microsoft.com/office/drawing/2014/main" id="{0E627B4F-602D-1739-9FF6-CEB03E610A35}"/>
              </a:ext>
            </a:extLst>
          </p:cNvPr>
          <p:cNvSpPr>
            <a:spLocks noGrp="1"/>
          </p:cNvSpPr>
          <p:nvPr>
            <p:ph type="body" sz="quarter" idx="14"/>
          </p:nvPr>
        </p:nvSpPr>
        <p:spPr>
          <a:xfrm>
            <a:off x="549473" y="1279072"/>
            <a:ext cx="8694148" cy="5172528"/>
          </a:xfrm>
        </p:spPr>
        <p:txBody>
          <a:bodyPr/>
          <a:lstStyle/>
          <a:p>
            <a:r>
              <a:rPr lang="fr-FR" sz="2000" dirty="0">
                <a:solidFill>
                  <a:schemeClr val="accent1"/>
                </a:solidFill>
              </a:rPr>
              <a:t>Les partenaires et dépendances :</a:t>
            </a:r>
            <a:endParaRPr lang="fr-FR" dirty="0"/>
          </a:p>
          <a:p>
            <a:r>
              <a:rPr lang="fr-FR" sz="1800" b="1" u="sng" dirty="0">
                <a:solidFill>
                  <a:srgbClr val="000000"/>
                </a:solidFill>
                <a:effectLst/>
                <a:latin typeface="Calibri" panose="020F0502020204030204" pitchFamily="34" charset="0"/>
                <a:ea typeface="Verdana" panose="020B0604030504040204" pitchFamily="34" charset="0"/>
              </a:rPr>
              <a:t>Les gestionnaires d'identités :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Entreprise </a:t>
            </a:r>
            <a:r>
              <a:rPr lang="fr-FR" sz="1800" dirty="0">
                <a:solidFill>
                  <a:srgbClr val="000000"/>
                </a:solidFill>
                <a:effectLst/>
                <a:latin typeface="Calibri" panose="020F0502020204030204" pitchFamily="34" charset="0"/>
                <a:ea typeface="Verdana" panose="020B0604030504040204" pitchFamily="34" charset="0"/>
              </a:rPr>
              <a:t>pour les mandataires et les ayants droits des entreprises ainsi que les porteurs de projet. </a:t>
            </a:r>
            <a:endParaRPr lang="fr-FR" sz="1800" dirty="0">
              <a:solidFill>
                <a:srgbClr val="000000"/>
              </a:solidFill>
              <a:effectLst/>
              <a:latin typeface="Arial" panose="020B0604020202020204" pitchFamily="34" charset="0"/>
              <a:ea typeface="Verdana" panose="020B0604030504040204" pitchFamily="34" charset="0"/>
            </a:endParaRPr>
          </a:p>
          <a:p>
            <a:r>
              <a:rPr lang="fr-FR" sz="1800" dirty="0">
                <a:solidFill>
                  <a:srgbClr val="000000"/>
                </a:solidFill>
                <a:effectLst/>
                <a:latin typeface="Calibri" panose="020F0502020204030204" pitchFamily="34" charset="0"/>
                <a:ea typeface="Verdana" panose="020B0604030504040204" pitchFamily="34" charset="0"/>
              </a:rPr>
              <a:t>La </a:t>
            </a:r>
            <a:r>
              <a:rPr lang="fr-FR" sz="1800" b="1" dirty="0">
                <a:solidFill>
                  <a:srgbClr val="000000"/>
                </a:solidFill>
                <a:effectLst/>
                <a:latin typeface="Calibri" panose="020F0502020204030204" pitchFamily="34" charset="0"/>
                <a:ea typeface="Verdana" panose="020B0604030504040204" pitchFamily="34" charset="0"/>
              </a:rPr>
              <a:t>GDI Partenaire </a:t>
            </a:r>
            <a:r>
              <a:rPr lang="fr-FR" sz="1800" dirty="0">
                <a:solidFill>
                  <a:srgbClr val="000000"/>
                </a:solidFill>
                <a:effectLst/>
                <a:latin typeface="Calibri" panose="020F0502020204030204" pitchFamily="34" charset="0"/>
                <a:ea typeface="Verdana" panose="020B0604030504040204" pitchFamily="34" charset="0"/>
              </a:rPr>
              <a:t>pour les accès au Back-Office et au Front Agent des agents de la Région Occitanie et des partenaires</a:t>
            </a:r>
          </a:p>
          <a:p>
            <a:endParaRPr lang="fr-FR" sz="1800" dirty="0">
              <a:solidFill>
                <a:srgbClr val="000000"/>
              </a:solidFill>
              <a:effectLst/>
              <a:latin typeface="Arial" panose="020B0604020202020204" pitchFamily="34" charset="0"/>
              <a:ea typeface="Verdana" panose="020B0604030504040204" pitchFamily="34" charset="0"/>
            </a:endParaRPr>
          </a:p>
          <a:p>
            <a:r>
              <a:rPr lang="fr-FR" sz="1800" b="1" u="sng" dirty="0">
                <a:solidFill>
                  <a:srgbClr val="000000"/>
                </a:solidFill>
                <a:effectLst/>
                <a:latin typeface="Calibri" panose="020F0502020204030204" pitchFamily="34" charset="0"/>
                <a:ea typeface="Verdana" panose="020B0604030504040204" pitchFamily="34" charset="0"/>
              </a:rPr>
              <a:t>Les API Externes :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L'API Entreprise</a:t>
            </a:r>
            <a:r>
              <a:rPr lang="fr-FR" sz="1800" dirty="0">
                <a:solidFill>
                  <a:srgbClr val="000000"/>
                </a:solidFill>
                <a:effectLst/>
                <a:latin typeface="Calibri" panose="020F0502020204030204" pitchFamily="34" charset="0"/>
                <a:ea typeface="Verdana" panose="020B0604030504040204" pitchFamily="34" charset="0"/>
              </a:rPr>
              <a:t> : informations administratives des entreprises. </a:t>
            </a:r>
          </a:p>
          <a:p>
            <a:r>
              <a:rPr lang="fr-FR" sz="1800" b="1" dirty="0">
                <a:solidFill>
                  <a:srgbClr val="000000"/>
                </a:solidFill>
                <a:effectLst/>
                <a:latin typeface="Calibri" panose="020F0502020204030204" pitchFamily="34" charset="0"/>
                <a:ea typeface="Verdana" panose="020B0604030504040204" pitchFamily="34" charset="0"/>
              </a:rPr>
              <a:t>Progos</a:t>
            </a:r>
            <a:r>
              <a:rPr lang="fr-FR" sz="1800" dirty="0">
                <a:solidFill>
                  <a:srgbClr val="000000"/>
                </a:solidFill>
                <a:effectLst/>
                <a:latin typeface="Calibri" panose="020F0502020204030204" pitchFamily="34" charset="0"/>
                <a:ea typeface="Verdana" panose="020B0604030504040204" pitchFamily="34" charset="0"/>
              </a:rPr>
              <a:t> : les dossiers de subventions  </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SPIP</a:t>
            </a:r>
            <a:r>
              <a:rPr lang="fr-FR" sz="1800" dirty="0">
                <a:solidFill>
                  <a:srgbClr val="000000"/>
                </a:solidFill>
                <a:effectLst/>
                <a:latin typeface="Calibri" panose="020F0502020204030204" pitchFamily="34" charset="0"/>
                <a:ea typeface="Verdana" panose="020B0604030504040204" pitchFamily="34" charset="0"/>
              </a:rPr>
              <a:t> : actualités de la Région</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Grand Angle</a:t>
            </a:r>
            <a:r>
              <a:rPr lang="fr-FR" sz="1800" dirty="0">
                <a:solidFill>
                  <a:srgbClr val="000000"/>
                </a:solidFill>
                <a:effectLst/>
                <a:latin typeface="Calibri" panose="020F0502020204030204" pitchFamily="34" charset="0"/>
                <a:ea typeface="Verdana" panose="020B0604030504040204" pitchFamily="34" charset="0"/>
              </a:rPr>
              <a:t> : (GDA) paiements faits par la Région et versées aux entreprises.</a:t>
            </a:r>
            <a:endParaRPr lang="fr-FR" sz="1800" dirty="0">
              <a:solidFill>
                <a:srgbClr val="000000"/>
              </a:solidFill>
              <a:effectLst/>
              <a:latin typeface="Arial" panose="020B0604020202020204" pitchFamily="34" charset="0"/>
              <a:ea typeface="Verdana" panose="020B0604030504040204" pitchFamily="34" charset="0"/>
            </a:endParaRPr>
          </a:p>
          <a:p>
            <a:r>
              <a:rPr lang="fr-FR" sz="1800" b="1" dirty="0">
                <a:solidFill>
                  <a:srgbClr val="000000"/>
                </a:solidFill>
                <a:effectLst/>
                <a:latin typeface="Calibri" panose="020F0502020204030204" pitchFamily="34" charset="0"/>
                <a:ea typeface="Verdana" panose="020B0604030504040204" pitchFamily="34" charset="0"/>
              </a:rPr>
              <a:t>BPI France : </a:t>
            </a:r>
            <a:r>
              <a:rPr lang="fr-FR" sz="1800" dirty="0">
                <a:solidFill>
                  <a:srgbClr val="000000"/>
                </a:solidFill>
                <a:effectLst/>
                <a:latin typeface="Calibri" panose="020F0502020204030204" pitchFamily="34" charset="0"/>
                <a:ea typeface="Verdana" panose="020B0604030504040204" pitchFamily="34" charset="0"/>
              </a:rPr>
              <a:t>les "dossiers projeteurs" des entreprises.</a:t>
            </a:r>
            <a:endParaRPr lang="fr-FR" sz="1800" dirty="0">
              <a:solidFill>
                <a:srgbClr val="000000"/>
              </a:solidFill>
              <a:effectLst/>
              <a:latin typeface="Arial" panose="020B0604020202020204" pitchFamily="34" charset="0"/>
              <a:ea typeface="Verdana" panose="020B0604030504040204" pitchFamily="34" charset="0"/>
            </a:endParaRPr>
          </a:p>
          <a:p>
            <a:br>
              <a:rPr lang="fr-FR" dirty="0"/>
            </a:br>
            <a:br>
              <a:rPr lang="fr-FR" dirty="0"/>
            </a:br>
            <a:endParaRPr lang="fr-FR" dirty="0"/>
          </a:p>
        </p:txBody>
      </p:sp>
    </p:spTree>
    <p:extLst>
      <p:ext uri="{BB962C8B-B14F-4D97-AF65-F5344CB8AC3E}">
        <p14:creationId xmlns:p14="http://schemas.microsoft.com/office/powerpoint/2010/main" val="2379631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78520C-6DAA-82CA-D9AE-437326C9BADA}"/>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3647192F-D34F-2AC6-F04E-5A55DA0EBD33}"/>
              </a:ext>
            </a:extLst>
          </p:cNvPr>
          <p:cNvSpPr>
            <a:spLocks noGrp="1"/>
          </p:cNvSpPr>
          <p:nvPr>
            <p:ph type="body" sz="quarter" idx="14"/>
          </p:nvPr>
        </p:nvSpPr>
        <p:spPr>
          <a:xfrm>
            <a:off x="549473" y="1290974"/>
            <a:ext cx="8694148" cy="5381845"/>
          </a:xfrm>
        </p:spPr>
        <p:txBody>
          <a:bodyPr/>
          <a:lstStyle/>
          <a:p>
            <a:r>
              <a:rPr lang="fr-FR" b="1" dirty="0"/>
              <a:t>3 portails web avec des fonctionnalités différentes :</a:t>
            </a:r>
          </a:p>
          <a:p>
            <a:endParaRPr lang="fr-FR" dirty="0"/>
          </a:p>
          <a:p>
            <a:r>
              <a:rPr lang="fr-FR" dirty="0"/>
              <a:t>Le </a:t>
            </a:r>
            <a:r>
              <a:rPr lang="fr-FR" b="1" dirty="0"/>
              <a:t>Front-entreprise</a:t>
            </a:r>
            <a:r>
              <a:rPr lang="fr-FR" dirty="0"/>
              <a:t> où les entreprises (mandataires, collaborateurs, prestataires externes) peuvent :</a:t>
            </a:r>
          </a:p>
          <a:p>
            <a:pPr marL="285750" indent="-285750">
              <a:buFont typeface="Arial" panose="020B0604020202020204" pitchFamily="34" charset="0"/>
              <a:buChar char="•"/>
            </a:pPr>
            <a:r>
              <a:rPr lang="fr-FR" dirty="0"/>
              <a:t>Consulter les Actualités et les boites à outils</a:t>
            </a:r>
          </a:p>
          <a:p>
            <a:pPr marL="285750" indent="-285750">
              <a:buFont typeface="Arial" panose="020B0604020202020204" pitchFamily="34" charset="0"/>
              <a:buChar char="•"/>
            </a:pPr>
            <a:r>
              <a:rPr lang="fr-FR" dirty="0"/>
              <a:t>Rechercher des financements et des évènements</a:t>
            </a:r>
          </a:p>
          <a:p>
            <a:pPr marL="285750" indent="-285750">
              <a:buFont typeface="Arial" panose="020B0604020202020204" pitchFamily="34" charset="0"/>
              <a:buChar char="•"/>
            </a:pPr>
            <a:r>
              <a:rPr lang="fr-FR" dirty="0"/>
              <a:t>Choisir un référent</a:t>
            </a:r>
          </a:p>
          <a:p>
            <a:pPr marL="285750" indent="-285750">
              <a:buFont typeface="Arial" panose="020B0604020202020204" pitchFamily="34" charset="0"/>
              <a:buChar char="•"/>
            </a:pPr>
            <a:r>
              <a:rPr lang="fr-FR" dirty="0"/>
              <a:t>Créer un projet</a:t>
            </a:r>
          </a:p>
          <a:p>
            <a:pPr marL="285750" indent="-285750">
              <a:buFont typeface="Arial" panose="020B0604020202020204" pitchFamily="34" charset="0"/>
              <a:buChar char="•"/>
            </a:pPr>
            <a:r>
              <a:rPr lang="fr-FR" dirty="0"/>
              <a:t>Suivre des dossiers</a:t>
            </a:r>
          </a:p>
          <a:p>
            <a:endParaRPr lang="fr-FR" dirty="0"/>
          </a:p>
          <a:p>
            <a:r>
              <a:rPr lang="fr-FR" dirty="0"/>
              <a:t>Le </a:t>
            </a:r>
            <a:r>
              <a:rPr lang="fr-FR" b="1" dirty="0"/>
              <a:t>Front-agent </a:t>
            </a:r>
            <a:r>
              <a:rPr lang="fr-FR" dirty="0"/>
              <a:t>où Agents région, Ad’OCC, et les partenaires Région (CMA, CCI) peuvent :</a:t>
            </a:r>
          </a:p>
          <a:p>
            <a:pPr marL="285750" indent="-285750">
              <a:buFont typeface="Arial" panose="020B0604020202020204" pitchFamily="34" charset="0"/>
              <a:buChar char="•"/>
            </a:pPr>
            <a:r>
              <a:rPr lang="fr-FR" dirty="0"/>
              <a:t>Rechercher des entreprises (contact), des financements et des interlocuteurs, </a:t>
            </a:r>
          </a:p>
          <a:p>
            <a:pPr marL="285750" indent="-285750">
              <a:buFont typeface="Arial" panose="020B0604020202020204" pitchFamily="34" charset="0"/>
              <a:buChar char="•"/>
            </a:pPr>
            <a:r>
              <a:rPr lang="fr-FR" dirty="0"/>
              <a:t>Recevoir des notifications</a:t>
            </a:r>
          </a:p>
          <a:p>
            <a:pPr marL="285750" indent="-285750">
              <a:buFont typeface="Arial" panose="020B0604020202020204" pitchFamily="34" charset="0"/>
              <a:buChar char="•"/>
            </a:pPr>
            <a:r>
              <a:rPr lang="fr-FR" dirty="0"/>
              <a:t>Ajouter un acteur dans un groupe projet, un événement d’une structure</a:t>
            </a:r>
          </a:p>
          <a:p>
            <a:pPr marL="285750" indent="-285750">
              <a:buFont typeface="Arial" panose="020B0604020202020204" pitchFamily="34" charset="0"/>
              <a:buChar char="•"/>
            </a:pPr>
            <a:r>
              <a:rPr lang="fr-FR" dirty="0"/>
              <a:t>Consultation l’historique, le portefeuille d’entreprise et créateurs-repreneurs, l’annuaire, le dossier projecteurs (BPI)</a:t>
            </a:r>
          </a:p>
        </p:txBody>
      </p:sp>
    </p:spTree>
    <p:extLst>
      <p:ext uri="{BB962C8B-B14F-4D97-AF65-F5344CB8AC3E}">
        <p14:creationId xmlns:p14="http://schemas.microsoft.com/office/powerpoint/2010/main" val="2296842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935BC7-DAD1-9FF7-4D46-6BE3988EEFF5}"/>
              </a:ext>
            </a:extLst>
          </p:cNvPr>
          <p:cNvSpPr>
            <a:spLocks noGrp="1"/>
          </p:cNvSpPr>
          <p:nvPr>
            <p:ph type="ctrTitle"/>
          </p:nvPr>
        </p:nvSpPr>
        <p:spPr/>
        <p:txBody>
          <a:bodyPr/>
          <a:lstStyle/>
          <a:p>
            <a:r>
              <a:rPr lang="fr-FR" dirty="0"/>
              <a:t>Fonctionnalités du Hub</a:t>
            </a:r>
          </a:p>
        </p:txBody>
      </p:sp>
      <p:sp>
        <p:nvSpPr>
          <p:cNvPr id="3" name="Espace réservé du texte 2">
            <a:extLst>
              <a:ext uri="{FF2B5EF4-FFF2-40B4-BE49-F238E27FC236}">
                <a16:creationId xmlns:a16="http://schemas.microsoft.com/office/drawing/2014/main" id="{07D98F13-3D80-EB7A-AB44-72A76DD9EDB6}"/>
              </a:ext>
            </a:extLst>
          </p:cNvPr>
          <p:cNvSpPr>
            <a:spLocks noGrp="1"/>
          </p:cNvSpPr>
          <p:nvPr>
            <p:ph type="body" sz="quarter" idx="14"/>
          </p:nvPr>
        </p:nvSpPr>
        <p:spPr>
          <a:xfrm>
            <a:off x="549473" y="1989474"/>
            <a:ext cx="8694148" cy="4186133"/>
          </a:xfrm>
        </p:spPr>
        <p:txBody>
          <a:bodyPr/>
          <a:lstStyle/>
          <a:p>
            <a:r>
              <a:rPr lang="fr-FR" dirty="0"/>
              <a:t>Le </a:t>
            </a:r>
            <a:r>
              <a:rPr lang="fr-FR" b="1" dirty="0"/>
              <a:t>Back-office</a:t>
            </a:r>
            <a:r>
              <a:rPr lang="fr-FR" dirty="0"/>
              <a:t> où les agents région (rôle Admin) peuvent gérer :</a:t>
            </a:r>
          </a:p>
          <a:p>
            <a:pPr marL="285750" indent="-285750">
              <a:buFont typeface="Arial" panose="020B0604020202020204" pitchFamily="34" charset="0"/>
              <a:buChar char="•"/>
            </a:pPr>
            <a:r>
              <a:rPr lang="fr-FR" dirty="0"/>
              <a:t>Des structures d’accompagnement</a:t>
            </a:r>
          </a:p>
          <a:p>
            <a:pPr marL="285750" indent="-285750">
              <a:buFont typeface="Arial" panose="020B0604020202020204" pitchFamily="34" charset="0"/>
              <a:buChar char="•"/>
            </a:pPr>
            <a:r>
              <a:rPr lang="fr-FR" dirty="0"/>
              <a:t>Des dispositifs (financements)</a:t>
            </a:r>
          </a:p>
          <a:p>
            <a:pPr marL="285750" indent="-285750">
              <a:buFont typeface="Arial" panose="020B0604020202020204" pitchFamily="34" charset="0"/>
              <a:buChar char="•"/>
            </a:pPr>
            <a:r>
              <a:rPr lang="fr-FR" dirty="0"/>
              <a:t>Des interlocuteurs (référents, spécialistes)</a:t>
            </a:r>
          </a:p>
          <a:p>
            <a:pPr marL="285750" indent="-285750">
              <a:buFont typeface="Arial" panose="020B0604020202020204" pitchFamily="34" charset="0"/>
              <a:buChar char="•"/>
            </a:pPr>
            <a:r>
              <a:rPr lang="fr-FR" dirty="0"/>
              <a:t>Des outils</a:t>
            </a:r>
          </a:p>
          <a:p>
            <a:pPr marL="285750" indent="-285750">
              <a:buFont typeface="Arial" panose="020B0604020202020204" pitchFamily="34" charset="0"/>
              <a:buChar char="•"/>
            </a:pPr>
            <a:r>
              <a:rPr lang="fr-FR" dirty="0"/>
              <a:t>Des territoires</a:t>
            </a:r>
          </a:p>
          <a:p>
            <a:pPr marL="285750" indent="-285750">
              <a:buFont typeface="Arial" panose="020B0604020202020204" pitchFamily="34" charset="0"/>
              <a:buChar char="•"/>
            </a:pPr>
            <a:r>
              <a:rPr lang="fr-FR" dirty="0"/>
              <a:t>Des filières</a:t>
            </a:r>
          </a:p>
          <a:p>
            <a:pPr marL="285750" indent="-285750">
              <a:buFont typeface="Arial" panose="020B0604020202020204" pitchFamily="34" charset="0"/>
              <a:buChar char="•"/>
            </a:pPr>
            <a:r>
              <a:rPr lang="fr-FR" dirty="0"/>
              <a:t>Des actualités</a:t>
            </a:r>
          </a:p>
          <a:p>
            <a:pPr marL="285750" indent="-285750">
              <a:buFont typeface="Arial" panose="020B0604020202020204" pitchFamily="34" charset="0"/>
              <a:buChar char="•"/>
            </a:pPr>
            <a:r>
              <a:rPr lang="fr-FR" dirty="0"/>
              <a:t>Des encart extranet (Front agent)</a:t>
            </a:r>
          </a:p>
          <a:p>
            <a:pPr marL="285750" indent="-285750">
              <a:buFont typeface="Arial" panose="020B0604020202020204" pitchFamily="34" charset="0"/>
              <a:buChar char="•"/>
            </a:pPr>
            <a:r>
              <a:rPr lang="fr-FR" dirty="0"/>
              <a:t>Des brèves d’information</a:t>
            </a:r>
          </a:p>
          <a:p>
            <a:pPr marL="285750" indent="-285750">
              <a:buFont typeface="Arial" panose="020B0604020202020204" pitchFamily="34" charset="0"/>
              <a:buChar char="•"/>
            </a:pPr>
            <a:r>
              <a:rPr lang="fr-FR" dirty="0"/>
              <a:t>Des événements</a:t>
            </a:r>
          </a:p>
          <a:p>
            <a:endParaRPr lang="fr-FR" dirty="0"/>
          </a:p>
        </p:txBody>
      </p:sp>
    </p:spTree>
    <p:extLst>
      <p:ext uri="{BB962C8B-B14F-4D97-AF65-F5344CB8AC3E}">
        <p14:creationId xmlns:p14="http://schemas.microsoft.com/office/powerpoint/2010/main" val="3710687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947810-721E-BA55-4E7F-79ABC20A28E0}"/>
              </a:ext>
            </a:extLst>
          </p:cNvPr>
          <p:cNvSpPr>
            <a:spLocks noGrp="1"/>
          </p:cNvSpPr>
          <p:nvPr>
            <p:ph type="ctrTitle"/>
          </p:nvPr>
        </p:nvSpPr>
        <p:spPr>
          <a:xfrm>
            <a:off x="549473" y="697702"/>
            <a:ext cx="7561065" cy="436516"/>
          </a:xfrm>
        </p:spPr>
        <p:txBody>
          <a:bodyPr/>
          <a:lstStyle/>
          <a:p>
            <a:r>
              <a:rPr lang="fr-FR" dirty="0"/>
              <a:t>Spécification des besoins fonctionnels</a:t>
            </a:r>
          </a:p>
        </p:txBody>
      </p:sp>
      <p:sp>
        <p:nvSpPr>
          <p:cNvPr id="3" name="Espace réservé du texte 2">
            <a:extLst>
              <a:ext uri="{FF2B5EF4-FFF2-40B4-BE49-F238E27FC236}">
                <a16:creationId xmlns:a16="http://schemas.microsoft.com/office/drawing/2014/main" id="{6F14B91A-4772-0B1F-A5DB-07F8EFF29AEB}"/>
              </a:ext>
            </a:extLst>
          </p:cNvPr>
          <p:cNvSpPr>
            <a:spLocks noGrp="1"/>
          </p:cNvSpPr>
          <p:nvPr>
            <p:ph type="body" sz="quarter" idx="14"/>
          </p:nvPr>
        </p:nvSpPr>
        <p:spPr>
          <a:xfrm>
            <a:off x="549473" y="1989474"/>
            <a:ext cx="8694148" cy="2429113"/>
          </a:xfrm>
        </p:spPr>
        <p:txBody>
          <a:bodyPr/>
          <a:lstStyle/>
          <a:p>
            <a:r>
              <a:rPr lang="fr-FR" sz="1800" dirty="0">
                <a:effectLst/>
                <a:latin typeface="Calibri" panose="020F0502020204030204" pitchFamily="34" charset="0"/>
                <a:ea typeface="Verdana" panose="020B0604030504040204" pitchFamily="34" charset="0"/>
              </a:rPr>
              <a:t>Un </a:t>
            </a:r>
            <a:r>
              <a:rPr lang="fr-FR" sz="1800" b="1" dirty="0">
                <a:effectLst/>
                <a:latin typeface="Calibri" panose="020F0502020204030204" pitchFamily="34" charset="0"/>
                <a:ea typeface="Verdana" panose="020B0604030504040204" pitchFamily="34" charset="0"/>
              </a:rPr>
              <a:t>diagramme de cas d’utilisation </a:t>
            </a:r>
            <a:r>
              <a:rPr lang="fr-FR" sz="1800" dirty="0">
                <a:effectLst/>
                <a:latin typeface="Calibri" panose="020F0502020204030204" pitchFamily="34" charset="0"/>
                <a:ea typeface="Verdana" panose="020B0604030504040204" pitchFamily="34" charset="0"/>
              </a:rPr>
              <a:t>capture le </a:t>
            </a:r>
            <a:r>
              <a:rPr lang="fr-FR" sz="1800" b="1" dirty="0">
                <a:effectLst/>
                <a:latin typeface="Calibri" panose="020F0502020204030204" pitchFamily="34" charset="0"/>
                <a:ea typeface="Verdana" panose="020B0604030504040204" pitchFamily="34" charset="0"/>
              </a:rPr>
              <a:t>comportement d’un système</a:t>
            </a:r>
            <a:r>
              <a:rPr lang="fr-FR" sz="1800" dirty="0">
                <a:effectLst/>
                <a:latin typeface="Calibri" panose="020F0502020204030204" pitchFamily="34" charset="0"/>
                <a:ea typeface="Verdana" panose="020B0604030504040204" pitchFamily="34" charset="0"/>
              </a:rPr>
              <a:t>, d’un sous-système, d’une classe ou d’un composant </a:t>
            </a:r>
            <a:r>
              <a:rPr lang="fr-FR" sz="1800" b="1" dirty="0">
                <a:effectLst/>
                <a:latin typeface="Calibri" panose="020F0502020204030204" pitchFamily="34" charset="0"/>
                <a:ea typeface="Verdana" panose="020B0604030504040204" pitchFamily="34" charset="0"/>
              </a:rPr>
              <a:t>tel qu’un utilisateur extérieur le voit</a:t>
            </a:r>
            <a:r>
              <a:rPr lang="fr-FR" sz="1800" dirty="0">
                <a:effectLst/>
                <a:latin typeface="Calibri" panose="020F0502020204030204" pitchFamily="34" charset="0"/>
                <a:ea typeface="Verdana" panose="020B0604030504040204" pitchFamily="34" charset="0"/>
              </a:rPr>
              <a:t>. Il scinde la fonctionnalité du système en unités cohérentes, les cas d’utilisation, ayant un sens pour les acteurs.</a:t>
            </a:r>
          </a:p>
          <a:p>
            <a:endParaRPr lang="fr-FR" sz="1800" dirty="0">
              <a:latin typeface="Calibri" panose="020F0502020204030204" pitchFamily="34" charset="0"/>
              <a:ea typeface="Verdana" panose="020B0604030504040204" pitchFamily="34" charset="0"/>
            </a:endParaRPr>
          </a:p>
          <a:p>
            <a:r>
              <a:rPr lang="fr-FR" sz="1800" dirty="0">
                <a:effectLst/>
                <a:latin typeface="Calibri" panose="020F0502020204030204" pitchFamily="34" charset="0"/>
                <a:ea typeface="Verdana" panose="020B0604030504040204" pitchFamily="34" charset="0"/>
              </a:rPr>
              <a:t>Ce travail m’a permis de comprendre et de voir toutes les tâches associées à </a:t>
            </a:r>
            <a:r>
              <a:rPr lang="fr-FR" sz="1800" b="1" dirty="0">
                <a:effectLst/>
                <a:latin typeface="Calibri" panose="020F0502020204030204" pitchFamily="34" charset="0"/>
                <a:ea typeface="Verdana" panose="020B0604030504040204" pitchFamily="34" charset="0"/>
              </a:rPr>
              <a:t>un Agent Administrateur Région et ses interactions avec les systèmes Back-Office.</a:t>
            </a:r>
            <a:endParaRPr lang="fr-FR" b="1" dirty="0"/>
          </a:p>
        </p:txBody>
      </p:sp>
    </p:spTree>
    <p:extLst>
      <p:ext uri="{BB962C8B-B14F-4D97-AF65-F5344CB8AC3E}">
        <p14:creationId xmlns:p14="http://schemas.microsoft.com/office/powerpoint/2010/main" val="39332042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0A772A5-983B-5F71-ED8E-F6C4141B490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87350"/>
            <a:ext cx="8483600" cy="5688081"/>
          </a:xfrm>
          <a:prstGeom prst="rect">
            <a:avLst/>
          </a:prstGeom>
          <a:noFill/>
          <a:ln>
            <a:noFill/>
          </a:ln>
        </p:spPr>
      </p:pic>
    </p:spTree>
    <p:extLst>
      <p:ext uri="{BB962C8B-B14F-4D97-AF65-F5344CB8AC3E}">
        <p14:creationId xmlns:p14="http://schemas.microsoft.com/office/powerpoint/2010/main" val="27563264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87C83-DA0B-3D20-2607-6E3A40C5B8EC}"/>
              </a:ext>
            </a:extLst>
          </p:cNvPr>
          <p:cNvSpPr>
            <a:spLocks noGrp="1"/>
          </p:cNvSpPr>
          <p:nvPr>
            <p:ph type="ctrTitle"/>
          </p:nvPr>
        </p:nvSpPr>
        <p:spPr/>
        <p:txBody>
          <a:bodyPr/>
          <a:lstStyle/>
          <a:p>
            <a:r>
              <a:rPr lang="fr-FR" dirty="0"/>
              <a:t>Spécification des données</a:t>
            </a:r>
          </a:p>
        </p:txBody>
      </p:sp>
      <p:sp>
        <p:nvSpPr>
          <p:cNvPr id="3" name="Espace réservé du texte 2">
            <a:extLst>
              <a:ext uri="{FF2B5EF4-FFF2-40B4-BE49-F238E27FC236}">
                <a16:creationId xmlns:a16="http://schemas.microsoft.com/office/drawing/2014/main" id="{4E685F2C-162C-88F8-5FA7-E1A5F57607CD}"/>
              </a:ext>
            </a:extLst>
          </p:cNvPr>
          <p:cNvSpPr>
            <a:spLocks noGrp="1"/>
          </p:cNvSpPr>
          <p:nvPr>
            <p:ph type="body" sz="quarter" idx="14"/>
          </p:nvPr>
        </p:nvSpPr>
        <p:spPr>
          <a:xfrm>
            <a:off x="549473" y="1989474"/>
            <a:ext cx="8694148" cy="3349044"/>
          </a:xfrm>
        </p:spPr>
        <p:txBody>
          <a:bodyPr/>
          <a:lstStyle/>
          <a:p>
            <a:pPr lvl="0">
              <a:tabLst>
                <a:tab pos="457200" algn="l"/>
              </a:tabLs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as de documents de conception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reverse-engineering</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e l’application et de la base de données.</a:t>
            </a:r>
            <a:b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b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lvl="0">
              <a:tabLst>
                <a:tab pos="457200" algn="l"/>
              </a:tabLst>
            </a:pPr>
            <a:r>
              <a:rPr lang="fr-FR" sz="1800" dirty="0">
                <a:latin typeface="Calibri" panose="020F0502020204030204" pitchFamily="34" charset="0"/>
                <a:ea typeface="Verdana" panose="020B0604030504040204" pitchFamily="34" charset="0"/>
              </a:rPr>
              <a:t>M</a:t>
            </a:r>
            <a:r>
              <a:rPr lang="fr-FR" sz="1800" dirty="0">
                <a:effectLst/>
                <a:latin typeface="Calibri" panose="020F0502020204030204" pitchFamily="34" charset="0"/>
                <a:ea typeface="Verdana" panose="020B0604030504040204" pitchFamily="34" charset="0"/>
              </a:rPr>
              <a:t>éthodologie </a:t>
            </a:r>
            <a:r>
              <a:rPr lang="fr-FR" sz="1800" b="1" dirty="0">
                <a:effectLst/>
                <a:latin typeface="Calibri" panose="020F0502020204030204" pitchFamily="34" charset="0"/>
                <a:ea typeface="Verdana" panose="020B0604030504040204" pitchFamily="34" charset="0"/>
              </a:rPr>
              <a:t>Merise</a:t>
            </a:r>
            <a:r>
              <a:rPr lang="fr-FR" sz="1800" dirty="0">
                <a:effectLst/>
                <a:latin typeface="Calibri" panose="020F0502020204030204" pitchFamily="34" charset="0"/>
                <a:ea typeface="Verdana" panose="020B0604030504040204" pitchFamily="34" charset="0"/>
              </a:rPr>
              <a:t> :</a:t>
            </a:r>
            <a:endPar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Dictionnaire de donnée :</a:t>
            </a:r>
            <a:r>
              <a:rPr lang="fr-FR" sz="1800" dirty="0">
                <a:effectLst/>
                <a:latin typeface="Calibri" panose="020F0502020204030204" pitchFamily="34" charset="0"/>
                <a:ea typeface="Verdana" panose="020B0604030504040204" pitchFamily="34" charset="0"/>
              </a:rPr>
              <a:t> la liste de toutes les données à digitaliser</a:t>
            </a:r>
            <a:endParaRPr lang="fr-FR" sz="1800" dirty="0">
              <a:solidFill>
                <a:srgbClr val="222C4A"/>
              </a:solidFill>
              <a:effectLst/>
              <a:latin typeface="Verdana" panose="020B060403050404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conceptuel des données : </a:t>
            </a:r>
            <a:r>
              <a:rPr lang="fr-FR" sz="1800" dirty="0">
                <a:effectLst/>
                <a:latin typeface="Calibri" panose="020F0502020204030204" pitchFamily="34" charset="0"/>
                <a:ea typeface="Verdana" panose="020B0604030504040204" pitchFamily="34" charset="0"/>
              </a:rPr>
              <a:t>les données utilisées par le système d’information et leurs relations entre ell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marL="285750" lvl="0" indent="-285750">
              <a:buFont typeface="Arial" panose="020B0604020202020204" pitchFamily="34" charset="0"/>
              <a:buChar char="•"/>
              <a:tabLst>
                <a:tab pos="457200" algn="l"/>
              </a:tabLst>
            </a:pPr>
            <a:r>
              <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rPr>
              <a:t>Modèle logique des données : </a:t>
            </a:r>
            <a:r>
              <a:rPr lang="fr-FR" sz="1800" dirty="0">
                <a:effectLst/>
                <a:latin typeface="Calibri" panose="020F0502020204030204" pitchFamily="34" charset="0"/>
                <a:ea typeface="Verdana" panose="020B0604030504040204" pitchFamily="34" charset="0"/>
              </a:rPr>
              <a:t>la structure de la base de données</a:t>
            </a:r>
            <a:endParaRPr lang="fr-FR" sz="1800" b="1" dirty="0">
              <a:solidFill>
                <a:srgbClr val="222C4A"/>
              </a:solidFill>
              <a:effectLst/>
              <a:latin typeface="Calibri" panose="020F0502020204030204" pitchFamily="34" charset="0"/>
              <a:ea typeface="Verdana" panose="020B0604030504040204" pitchFamily="34" charset="0"/>
              <a:cs typeface="Times New Roman" panose="02020603050405020304" pitchFamily="18" charset="0"/>
            </a:endParaRPr>
          </a:p>
          <a:p>
            <a:pPr lvl="0">
              <a:tabLst>
                <a:tab pos="457200" algn="l"/>
              </a:tabLst>
            </a:pPr>
            <a:endParaRPr lang="fr-FR" sz="1800" dirty="0">
              <a:effectLst/>
              <a:latin typeface="Calibri" panose="020F0502020204030204" pitchFamily="34" charset="0"/>
              <a:ea typeface="Verdana" panose="020B0604030504040204" pitchFamily="34" charset="0"/>
            </a:endParaRPr>
          </a:p>
        </p:txBody>
      </p:sp>
    </p:spTree>
    <p:extLst>
      <p:ext uri="{BB962C8B-B14F-4D97-AF65-F5344CB8AC3E}">
        <p14:creationId xmlns:p14="http://schemas.microsoft.com/office/powerpoint/2010/main" val="3865612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5978D9D-DEB9-9EF1-80D0-3E1EF94406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9130" y="730885"/>
            <a:ext cx="6047740" cy="5396230"/>
          </a:xfrm>
          <a:prstGeom prst="rect">
            <a:avLst/>
          </a:prstGeom>
        </p:spPr>
      </p:pic>
    </p:spTree>
    <p:extLst>
      <p:ext uri="{BB962C8B-B14F-4D97-AF65-F5344CB8AC3E}">
        <p14:creationId xmlns:p14="http://schemas.microsoft.com/office/powerpoint/2010/main" val="182778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C690732-32A7-2817-6DAE-8EFE04D2A08E}"/>
              </a:ext>
            </a:extLst>
          </p:cNvPr>
          <p:cNvSpPr>
            <a:spLocks noGrp="1"/>
          </p:cNvSpPr>
          <p:nvPr>
            <p:ph type="ctrTitle"/>
          </p:nvPr>
        </p:nvSpPr>
        <p:spPr/>
        <p:txBody>
          <a:bodyPr/>
          <a:lstStyle/>
          <a:p>
            <a:r>
              <a:rPr lang="fr-FR" dirty="0"/>
              <a:t>Historique et présentation du groupe</a:t>
            </a:r>
          </a:p>
        </p:txBody>
      </p:sp>
      <p:pic>
        <p:nvPicPr>
          <p:cNvPr id="6" name="Image 5">
            <a:extLst>
              <a:ext uri="{FF2B5EF4-FFF2-40B4-BE49-F238E27FC236}">
                <a16:creationId xmlns:a16="http://schemas.microsoft.com/office/drawing/2014/main" id="{B77FB7A1-6860-7D51-9B52-8EAE0401B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505" y="5153763"/>
            <a:ext cx="1701165" cy="93980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D145742E-597F-2360-86AC-33A8A73D2C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8088" y="5153963"/>
            <a:ext cx="1632099" cy="939600"/>
          </a:xfrm>
          <a:prstGeom prst="rect">
            <a:avLst/>
          </a:prstGeom>
        </p:spPr>
      </p:pic>
      <p:pic>
        <p:nvPicPr>
          <p:cNvPr id="8" name="Image 7">
            <a:extLst>
              <a:ext uri="{FF2B5EF4-FFF2-40B4-BE49-F238E27FC236}">
                <a16:creationId xmlns:a16="http://schemas.microsoft.com/office/drawing/2014/main" id="{55CCDC3E-80F7-B1CB-73EA-A207F8C00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30" y="3791285"/>
            <a:ext cx="2188856" cy="2973600"/>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68BEE0B8-A680-F9A6-16F9-E12A10BD5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8311" y="5152193"/>
            <a:ext cx="1354689" cy="939600"/>
          </a:xfrm>
          <a:prstGeom prst="rect">
            <a:avLst/>
          </a:prstGeom>
        </p:spPr>
      </p:pic>
      <p:pic>
        <p:nvPicPr>
          <p:cNvPr id="10" name="Image 9" descr="Une image contenant texte&#10;&#10;Description générée automatiquement">
            <a:extLst>
              <a:ext uri="{FF2B5EF4-FFF2-40B4-BE49-F238E27FC236}">
                <a16:creationId xmlns:a16="http://schemas.microsoft.com/office/drawing/2014/main" id="{F669B546-BDC8-E418-AB96-05AE4C58C44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3746" y="3791285"/>
            <a:ext cx="2124710" cy="2973705"/>
          </a:xfrm>
          <a:prstGeom prst="rect">
            <a:avLst/>
          </a:prstGeom>
        </p:spPr>
      </p:pic>
      <p:pic>
        <p:nvPicPr>
          <p:cNvPr id="11" name="Image 10" descr="Une image contenant carte&#10;&#10;Description générée automatiquement">
            <a:extLst>
              <a:ext uri="{FF2B5EF4-FFF2-40B4-BE49-F238E27FC236}">
                <a16:creationId xmlns:a16="http://schemas.microsoft.com/office/drawing/2014/main" id="{16784525-95F3-F6D6-6CDF-5C08ED1082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505" y="2957195"/>
            <a:ext cx="4883644" cy="2194998"/>
          </a:xfrm>
          <a:prstGeom prst="rect">
            <a:avLst/>
          </a:prstGeom>
        </p:spPr>
      </p:pic>
      <p:pic>
        <p:nvPicPr>
          <p:cNvPr id="12" name="Image 11" descr="Une image contenant texte&#10;&#10;Description générée automatiquement">
            <a:extLst>
              <a:ext uri="{FF2B5EF4-FFF2-40B4-BE49-F238E27FC236}">
                <a16:creationId xmlns:a16="http://schemas.microsoft.com/office/drawing/2014/main" id="{3DCA4619-7741-1A1A-AE2E-6217EC3424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8518" y="1305780"/>
            <a:ext cx="1537750" cy="448948"/>
          </a:xfrm>
          <a:prstGeom prst="rect">
            <a:avLst/>
          </a:prstGeom>
        </p:spPr>
      </p:pic>
      <p:sp>
        <p:nvSpPr>
          <p:cNvPr id="2" name="Espace réservé du texte 3">
            <a:extLst>
              <a:ext uri="{FF2B5EF4-FFF2-40B4-BE49-F238E27FC236}">
                <a16:creationId xmlns:a16="http://schemas.microsoft.com/office/drawing/2014/main" id="{D3587A4E-92F6-46B7-62B2-6CA0B0F0346D}"/>
              </a:ext>
            </a:extLst>
          </p:cNvPr>
          <p:cNvSpPr txBox="1">
            <a:spLocks/>
          </p:cNvSpPr>
          <p:nvPr/>
        </p:nvSpPr>
        <p:spPr>
          <a:xfrm>
            <a:off x="209836" y="1429493"/>
            <a:ext cx="2618206" cy="625606"/>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1970 « Groupe Français d’Informatique » </a:t>
            </a:r>
            <a:r>
              <a:rPr lang="fr-FR" sz="1600" b="1" dirty="0"/>
              <a:t>Gfi</a:t>
            </a:r>
            <a:endParaRPr lang="fr-FR" sz="1600" dirty="0"/>
          </a:p>
        </p:txBody>
      </p:sp>
      <p:sp>
        <p:nvSpPr>
          <p:cNvPr id="5" name="Espace réservé du texte 3">
            <a:extLst>
              <a:ext uri="{FF2B5EF4-FFF2-40B4-BE49-F238E27FC236}">
                <a16:creationId xmlns:a16="http://schemas.microsoft.com/office/drawing/2014/main" id="{B4D3EEF3-20E8-8622-FF09-4FB73CF70E38}"/>
              </a:ext>
            </a:extLst>
          </p:cNvPr>
          <p:cNvSpPr txBox="1">
            <a:spLocks/>
          </p:cNvSpPr>
          <p:nvPr/>
        </p:nvSpPr>
        <p:spPr>
          <a:xfrm>
            <a:off x="5353050" y="1429493"/>
            <a:ext cx="4457700" cy="1167293"/>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pPr fontAlgn="base">
              <a:spcBef>
                <a:spcPts val="1500"/>
              </a:spcBef>
            </a:pPr>
            <a:r>
              <a:rPr lang="fr-FR" sz="1600" dirty="0">
                <a:effectLst/>
                <a:latin typeface="+mj-lt"/>
                <a:ea typeface="Times New Roman" panose="02020603050405020304" pitchFamily="18" charset="0"/>
                <a:cs typeface="Times New Roman" panose="02020603050405020304" pitchFamily="18" charset="0"/>
              </a:rPr>
              <a:t>En 2020, l’ESN internationale se rebaptise pour incarner son </a:t>
            </a:r>
            <a:r>
              <a:rPr lang="fr-FR" sz="1600" b="1" dirty="0">
                <a:effectLst/>
                <a:latin typeface="+mj-lt"/>
                <a:ea typeface="Times New Roman" panose="02020603050405020304" pitchFamily="18" charset="0"/>
                <a:cs typeface="Times New Roman" panose="02020603050405020304" pitchFamily="18" charset="0"/>
              </a:rPr>
              <a:t>ADN</a:t>
            </a:r>
            <a:r>
              <a:rPr lang="fr-FR" sz="1600" dirty="0">
                <a:effectLst/>
                <a:latin typeface="+mj-lt"/>
                <a:ea typeface="Times New Roman" panose="02020603050405020304" pitchFamily="18" charset="0"/>
                <a:cs typeface="Times New Roman" panose="02020603050405020304" pitchFamily="18" charset="0"/>
              </a:rPr>
              <a:t>, qui revendique </a:t>
            </a:r>
            <a:r>
              <a:rPr lang="fr-FR" sz="1600" b="1" dirty="0">
                <a:effectLst/>
                <a:latin typeface="+mj-lt"/>
                <a:ea typeface="Times New Roman" panose="02020603050405020304" pitchFamily="18" charset="0"/>
                <a:cs typeface="Times New Roman" panose="02020603050405020304" pitchFamily="18" charset="0"/>
              </a:rPr>
              <a:t>l’esprit d’entreprenariat</a:t>
            </a:r>
            <a:r>
              <a:rPr lang="fr-FR" sz="1600" dirty="0">
                <a:effectLst/>
                <a:latin typeface="+mj-lt"/>
                <a:ea typeface="Times New Roman" panose="02020603050405020304" pitchFamily="18" charset="0"/>
                <a:cs typeface="Times New Roman" panose="02020603050405020304" pitchFamily="18" charset="0"/>
              </a:rPr>
              <a:t>, une </a:t>
            </a:r>
            <a:r>
              <a:rPr lang="fr-FR" sz="1600" b="1" dirty="0">
                <a:effectLst/>
                <a:latin typeface="+mj-lt"/>
                <a:ea typeface="Times New Roman" panose="02020603050405020304" pitchFamily="18" charset="0"/>
                <a:cs typeface="Times New Roman" panose="02020603050405020304" pitchFamily="18" charset="0"/>
              </a:rPr>
              <a:t>ambition</a:t>
            </a:r>
            <a:r>
              <a:rPr lang="fr-FR" sz="1600" dirty="0">
                <a:effectLst/>
                <a:latin typeface="+mj-lt"/>
                <a:ea typeface="Times New Roman" panose="02020603050405020304" pitchFamily="18" charset="0"/>
                <a:cs typeface="Times New Roman" panose="02020603050405020304" pitchFamily="18" charset="0"/>
              </a:rPr>
              <a:t> et un </a:t>
            </a:r>
            <a:r>
              <a:rPr lang="fr-FR" sz="1600" b="1" dirty="0">
                <a:effectLst/>
                <a:latin typeface="+mj-lt"/>
                <a:ea typeface="Times New Roman" panose="02020603050405020304" pitchFamily="18" charset="0"/>
                <a:cs typeface="Times New Roman" panose="02020603050405020304" pitchFamily="18" charset="0"/>
              </a:rPr>
              <a:t>esprit de conquête</a:t>
            </a:r>
            <a:r>
              <a:rPr lang="fr-FR" sz="1600" dirty="0">
                <a:effectLst/>
                <a:latin typeface="+mj-lt"/>
                <a:ea typeface="Times New Roman" panose="02020603050405020304" pitchFamily="18" charset="0"/>
                <a:cs typeface="Times New Roman" panose="02020603050405020304" pitchFamily="18" charset="0"/>
              </a:rPr>
              <a:t>.</a:t>
            </a:r>
            <a:endParaRPr lang="fr-FR" sz="1600" dirty="0">
              <a:effectLst/>
              <a:latin typeface="+mj-lt"/>
              <a:ea typeface="Times New Roman" panose="02020603050405020304" pitchFamily="18" charset="0"/>
            </a:endParaRPr>
          </a:p>
        </p:txBody>
      </p:sp>
      <p:sp>
        <p:nvSpPr>
          <p:cNvPr id="14" name="Espace réservé du texte 3">
            <a:extLst>
              <a:ext uri="{FF2B5EF4-FFF2-40B4-BE49-F238E27FC236}">
                <a16:creationId xmlns:a16="http://schemas.microsoft.com/office/drawing/2014/main" id="{9A5B1ACA-4A87-72CE-5D6D-DB91DD140BFF}"/>
              </a:ext>
            </a:extLst>
          </p:cNvPr>
          <p:cNvSpPr txBox="1">
            <a:spLocks/>
          </p:cNvSpPr>
          <p:nvPr/>
        </p:nvSpPr>
        <p:spPr>
          <a:xfrm>
            <a:off x="5353050" y="2596786"/>
            <a:ext cx="4265097" cy="896450"/>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600" dirty="0"/>
              <a:t>Slogan : « </a:t>
            </a:r>
            <a:r>
              <a:rPr lang="fr-FR" sz="1600" b="1" dirty="0"/>
              <a:t>Positive digital flow </a:t>
            </a:r>
            <a:r>
              <a:rPr lang="fr-FR" sz="1600" dirty="0"/>
              <a:t>»  </a:t>
            </a:r>
            <a:r>
              <a:rPr lang="fr-FR" sz="1600" dirty="0">
                <a:sym typeface="Wingdings" panose="05000000000000000000" pitchFamily="2" charset="2"/>
              </a:rPr>
              <a:t> S</a:t>
            </a:r>
            <a:r>
              <a:rPr lang="fr-FR" sz="1600" dirty="0"/>
              <a:t>outenir la transformation digitale des entreprises. </a:t>
            </a:r>
          </a:p>
        </p:txBody>
      </p:sp>
      <p:sp>
        <p:nvSpPr>
          <p:cNvPr id="15" name="Flèche : droite 14">
            <a:extLst>
              <a:ext uri="{FF2B5EF4-FFF2-40B4-BE49-F238E27FC236}">
                <a16:creationId xmlns:a16="http://schemas.microsoft.com/office/drawing/2014/main" id="{CD7F4129-27E9-2D15-98E5-B2CE6D27A0B2}"/>
              </a:ext>
            </a:extLst>
          </p:cNvPr>
          <p:cNvSpPr/>
          <p:nvPr/>
        </p:nvSpPr>
        <p:spPr>
          <a:xfrm>
            <a:off x="3007151" y="1762300"/>
            <a:ext cx="1862679" cy="32051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0941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51E989-84B4-35E6-27CA-581D48DE40D3}"/>
              </a:ext>
            </a:extLst>
          </p:cNvPr>
          <p:cNvPicPr>
            <a:picLocks noChangeAspect="1"/>
          </p:cNvPicPr>
          <p:nvPr/>
        </p:nvPicPr>
        <p:blipFill>
          <a:blip r:embed="rId2"/>
          <a:stretch>
            <a:fillRect/>
          </a:stretch>
        </p:blipFill>
        <p:spPr>
          <a:xfrm>
            <a:off x="718820" y="920750"/>
            <a:ext cx="8114244" cy="5245418"/>
          </a:xfrm>
          <a:prstGeom prst="rect">
            <a:avLst/>
          </a:prstGeom>
        </p:spPr>
      </p:pic>
    </p:spTree>
    <p:extLst>
      <p:ext uri="{BB962C8B-B14F-4D97-AF65-F5344CB8AC3E}">
        <p14:creationId xmlns:p14="http://schemas.microsoft.com/office/powerpoint/2010/main" val="35505539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7BEE218B-809E-4E7D-1C92-60700EB12D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408237" y="1096522"/>
            <a:ext cx="6357622" cy="4568441"/>
          </a:xfrm>
          <a:prstGeom prst="rect">
            <a:avLst/>
          </a:prstGeom>
        </p:spPr>
      </p:pic>
    </p:spTree>
    <p:extLst>
      <p:ext uri="{BB962C8B-B14F-4D97-AF65-F5344CB8AC3E}">
        <p14:creationId xmlns:p14="http://schemas.microsoft.com/office/powerpoint/2010/main" val="3457595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6D653-27B2-B074-69FC-9DF03962B20E}"/>
              </a:ext>
            </a:extLst>
          </p:cNvPr>
          <p:cNvSpPr>
            <a:spLocks noGrp="1"/>
          </p:cNvSpPr>
          <p:nvPr>
            <p:ph type="ctrTitle"/>
          </p:nvPr>
        </p:nvSpPr>
        <p:spPr/>
        <p:txBody>
          <a:bodyPr/>
          <a:lstStyle/>
          <a:p>
            <a:r>
              <a:rPr lang="fr-FR" dirty="0"/>
              <a:t>IHM</a:t>
            </a:r>
          </a:p>
        </p:txBody>
      </p:sp>
      <p:pic>
        <p:nvPicPr>
          <p:cNvPr id="4" name="Image 3">
            <a:extLst>
              <a:ext uri="{FF2B5EF4-FFF2-40B4-BE49-F238E27FC236}">
                <a16:creationId xmlns:a16="http://schemas.microsoft.com/office/drawing/2014/main" id="{473B66CF-9A63-7E14-6B6A-5112E0561D6D}"/>
              </a:ext>
            </a:extLst>
          </p:cNvPr>
          <p:cNvPicPr>
            <a:picLocks noChangeAspect="1"/>
          </p:cNvPicPr>
          <p:nvPr/>
        </p:nvPicPr>
        <p:blipFill>
          <a:blip r:embed="rId2"/>
          <a:stretch>
            <a:fillRect/>
          </a:stretch>
        </p:blipFill>
        <p:spPr>
          <a:xfrm>
            <a:off x="549473" y="2343150"/>
            <a:ext cx="4132580" cy="3162300"/>
          </a:xfrm>
          <a:prstGeom prst="rect">
            <a:avLst/>
          </a:prstGeom>
        </p:spPr>
      </p:pic>
      <p:pic>
        <p:nvPicPr>
          <p:cNvPr id="5" name="Image 4">
            <a:extLst>
              <a:ext uri="{FF2B5EF4-FFF2-40B4-BE49-F238E27FC236}">
                <a16:creationId xmlns:a16="http://schemas.microsoft.com/office/drawing/2014/main" id="{F85D025E-C8BA-A840-9A6A-899254A3A555}"/>
              </a:ext>
            </a:extLst>
          </p:cNvPr>
          <p:cNvPicPr>
            <a:picLocks noChangeAspect="1"/>
          </p:cNvPicPr>
          <p:nvPr/>
        </p:nvPicPr>
        <p:blipFill>
          <a:blip r:embed="rId3"/>
          <a:stretch>
            <a:fillRect/>
          </a:stretch>
        </p:blipFill>
        <p:spPr>
          <a:xfrm>
            <a:off x="4843094" y="2343150"/>
            <a:ext cx="4969611" cy="3162300"/>
          </a:xfrm>
          <a:prstGeom prst="rect">
            <a:avLst/>
          </a:prstGeom>
        </p:spPr>
      </p:pic>
    </p:spTree>
    <p:extLst>
      <p:ext uri="{BB962C8B-B14F-4D97-AF65-F5344CB8AC3E}">
        <p14:creationId xmlns:p14="http://schemas.microsoft.com/office/powerpoint/2010/main" val="997555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88B7B8-C87B-E534-9A74-FAC315BBBF7D}"/>
              </a:ext>
            </a:extLst>
          </p:cNvPr>
          <p:cNvSpPr>
            <a:spLocks noGrp="1"/>
          </p:cNvSpPr>
          <p:nvPr>
            <p:ph type="ctrTitle"/>
          </p:nvPr>
        </p:nvSpPr>
        <p:spPr/>
        <p:txBody>
          <a:bodyPr/>
          <a:lstStyle/>
          <a:p>
            <a:r>
              <a:rPr lang="fr-FR" dirty="0"/>
              <a:t>Ma Mission</a:t>
            </a:r>
          </a:p>
        </p:txBody>
      </p:sp>
      <p:sp>
        <p:nvSpPr>
          <p:cNvPr id="3" name="Espace réservé du texte 2">
            <a:extLst>
              <a:ext uri="{FF2B5EF4-FFF2-40B4-BE49-F238E27FC236}">
                <a16:creationId xmlns:a16="http://schemas.microsoft.com/office/drawing/2014/main" id="{8F9A2E47-1065-A63D-ACBD-3B2E34F744F9}"/>
              </a:ext>
            </a:extLst>
          </p:cNvPr>
          <p:cNvSpPr>
            <a:spLocks noGrp="1"/>
          </p:cNvSpPr>
          <p:nvPr>
            <p:ph type="body" sz="quarter" idx="14"/>
          </p:nvPr>
        </p:nvSpPr>
        <p:spPr>
          <a:xfrm>
            <a:off x="466923" y="1113174"/>
            <a:ext cx="8694148" cy="1107726"/>
          </a:xfrm>
        </p:spPr>
        <p:txBody>
          <a:bodyPr/>
          <a:lstStyle/>
          <a:p>
            <a:r>
              <a:rPr lang="fr-FR" sz="1800" b="1" dirty="0">
                <a:effectLst/>
                <a:latin typeface="Calibri" panose="020F0502020204030204" pitchFamily="34" charset="0"/>
                <a:ea typeface="Verdana" panose="020B0604030504040204" pitchFamily="34" charset="0"/>
              </a:rPr>
              <a:t>Spécifications Fonctionnelles Détaillées </a:t>
            </a:r>
            <a:r>
              <a:rPr lang="fr-FR" sz="1800" dirty="0">
                <a:effectLst/>
                <a:latin typeface="Calibri" panose="020F0502020204030204" pitchFamily="34" charset="0"/>
                <a:ea typeface="Verdana" panose="020B0604030504040204" pitchFamily="34" charset="0"/>
              </a:rPr>
              <a:t>qui désignent l’ensemble de documents décrivant en détail le </a:t>
            </a:r>
            <a:r>
              <a:rPr lang="fr-FR" sz="1800" b="1" dirty="0">
                <a:effectLst/>
                <a:latin typeface="Calibri" panose="020F0502020204030204" pitchFamily="34" charset="0"/>
                <a:ea typeface="Verdana" panose="020B0604030504040204" pitchFamily="34" charset="0"/>
              </a:rPr>
              <a:t>comportement des fonctionnalités et sous-fonctions de la solution cible</a:t>
            </a:r>
          </a:p>
          <a:p>
            <a:r>
              <a:rPr lang="fr-FR" sz="1800" dirty="0">
                <a:effectLst/>
                <a:latin typeface="Calibri" panose="020F0502020204030204" pitchFamily="34" charset="0"/>
                <a:ea typeface="Verdana" panose="020B0604030504040204" pitchFamily="34" charset="0"/>
              </a:rPr>
              <a:t> Ce sont des documents à fournir à la livraison des évolutions.</a:t>
            </a:r>
            <a:endParaRPr lang="fr-FR" dirty="0"/>
          </a:p>
        </p:txBody>
      </p:sp>
      <p:pic>
        <p:nvPicPr>
          <p:cNvPr id="11" name="Image 10">
            <a:extLst>
              <a:ext uri="{FF2B5EF4-FFF2-40B4-BE49-F238E27FC236}">
                <a16:creationId xmlns:a16="http://schemas.microsoft.com/office/drawing/2014/main" id="{223A7D9A-E26D-C142-85E6-6BB39776947E}"/>
              </a:ext>
            </a:extLst>
          </p:cNvPr>
          <p:cNvPicPr>
            <a:picLocks noChangeAspect="1"/>
          </p:cNvPicPr>
          <p:nvPr/>
        </p:nvPicPr>
        <p:blipFill>
          <a:blip r:embed="rId2"/>
          <a:stretch>
            <a:fillRect/>
          </a:stretch>
        </p:blipFill>
        <p:spPr>
          <a:xfrm>
            <a:off x="89201" y="2636372"/>
            <a:ext cx="9816799" cy="4221628"/>
          </a:xfrm>
          <a:prstGeom prst="rect">
            <a:avLst/>
          </a:prstGeom>
        </p:spPr>
      </p:pic>
    </p:spTree>
    <p:extLst>
      <p:ext uri="{BB962C8B-B14F-4D97-AF65-F5344CB8AC3E}">
        <p14:creationId xmlns:p14="http://schemas.microsoft.com/office/powerpoint/2010/main" val="395513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3A4691-BBFF-0A6E-5E9E-E22B933ED222}"/>
              </a:ext>
            </a:extLst>
          </p:cNvPr>
          <p:cNvSpPr>
            <a:spLocks noGrp="1"/>
          </p:cNvSpPr>
          <p:nvPr>
            <p:ph type="ctrTitle"/>
          </p:nvPr>
        </p:nvSpPr>
        <p:spPr/>
        <p:txBody>
          <a:bodyPr/>
          <a:lstStyle/>
          <a:p>
            <a:r>
              <a:rPr lang="fr-FR" dirty="0"/>
              <a:t>Maquette et format du fichier</a:t>
            </a:r>
          </a:p>
        </p:txBody>
      </p:sp>
      <p:sp>
        <p:nvSpPr>
          <p:cNvPr id="3" name="Espace réservé du texte 2">
            <a:extLst>
              <a:ext uri="{FF2B5EF4-FFF2-40B4-BE49-F238E27FC236}">
                <a16:creationId xmlns:a16="http://schemas.microsoft.com/office/drawing/2014/main" id="{DC3F4B39-72EE-BBF9-4761-DD40E242B301}"/>
              </a:ext>
            </a:extLst>
          </p:cNvPr>
          <p:cNvSpPr>
            <a:spLocks noGrp="1"/>
          </p:cNvSpPr>
          <p:nvPr>
            <p:ph type="body" sz="quarter" idx="14"/>
          </p:nvPr>
        </p:nvSpPr>
        <p:spPr>
          <a:xfrm>
            <a:off x="251022" y="2794000"/>
            <a:ext cx="8962827" cy="4416324"/>
          </a:xfrm>
        </p:spPr>
        <p:txBody>
          <a:bodyPr/>
          <a:lstStyle/>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chier en form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sv</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rassemblant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iste des dispositifs du Hub </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avec les champs suivants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d, Nom, Courriel, Catégorie, Phrase d’accroche, Chiffres clés, Actif, Type, Filières, Catégories du projet, Dépenses éligibles, Objectifs, Nature aide, Tags, NAF exclus, Date de création, Dat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MaJ</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Date de départ, Date de fin, Operateur, Experts, Lien fiche descriptive (</a:t>
            </a:r>
            <a:r>
              <a:rPr lang="fr-FR" sz="1800" dirty="0" err="1">
                <a:solidFill>
                  <a:srgbClr val="222C4A"/>
                </a:solidFill>
                <a:effectLst/>
                <a:latin typeface="Calibri" panose="020F0502020204030204" pitchFamily="34" charset="0"/>
                <a:ea typeface="Verdana" panose="020B0604030504040204" pitchFamily="34" charset="0"/>
                <a:cs typeface="Calibri" panose="020F0502020204030204" pitchFamily="34" charset="0"/>
              </a:rPr>
              <a:t>pd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nom du document + nom pour l'affichage s'il y en a un spécifique), Documents, Documents visibles uniquement sur le portail Agents (Lien vers la FAQ, PDF), Liens de dépôt de dossier PDF (+ nom du lien s'il existe dans la colonne suivante, séparés par des slashs), Liens de dépôt de dossier URL (URL + nom du lien s'il existe, séparés par des slashs), Vidéos (nom de la vidéo : URL de la vidéo, séparés par des slashs), Age min, Age max, Nombre d’employés min, Nombre d’employés max, Lien URL de la page.</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pic>
        <p:nvPicPr>
          <p:cNvPr id="4" name="Image 3">
            <a:extLst>
              <a:ext uri="{FF2B5EF4-FFF2-40B4-BE49-F238E27FC236}">
                <a16:creationId xmlns:a16="http://schemas.microsoft.com/office/drawing/2014/main" id="{0ED4DB97-0C20-3C7F-2403-344C951E828C}"/>
              </a:ext>
            </a:extLst>
          </p:cNvPr>
          <p:cNvPicPr>
            <a:picLocks noChangeAspect="1"/>
          </p:cNvPicPr>
          <p:nvPr/>
        </p:nvPicPr>
        <p:blipFill>
          <a:blip r:embed="rId2"/>
          <a:stretch>
            <a:fillRect/>
          </a:stretch>
        </p:blipFill>
        <p:spPr>
          <a:xfrm>
            <a:off x="549473" y="1508504"/>
            <a:ext cx="8284542" cy="1031496"/>
          </a:xfrm>
          <a:prstGeom prst="rect">
            <a:avLst/>
          </a:prstGeom>
        </p:spPr>
      </p:pic>
    </p:spTree>
    <p:extLst>
      <p:ext uri="{BB962C8B-B14F-4D97-AF65-F5344CB8AC3E}">
        <p14:creationId xmlns:p14="http://schemas.microsoft.com/office/powerpoint/2010/main" val="73268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148D26-EED4-D816-789A-4BB4796AB2A2}"/>
              </a:ext>
            </a:extLst>
          </p:cNvPr>
          <p:cNvSpPr>
            <a:spLocks noGrp="1"/>
          </p:cNvSpPr>
          <p:nvPr>
            <p:ph type="ctrTitle"/>
          </p:nvPr>
        </p:nvSpPr>
        <p:spPr/>
        <p:txBody>
          <a:bodyPr/>
          <a:lstStyle/>
          <a:p>
            <a:r>
              <a:rPr lang="fr-FR" dirty="0"/>
              <a:t>Cas d’utilisation</a:t>
            </a:r>
          </a:p>
        </p:txBody>
      </p:sp>
      <p:pic>
        <p:nvPicPr>
          <p:cNvPr id="5" name="Image 4">
            <a:extLst>
              <a:ext uri="{FF2B5EF4-FFF2-40B4-BE49-F238E27FC236}">
                <a16:creationId xmlns:a16="http://schemas.microsoft.com/office/drawing/2014/main" id="{C002498A-5F1A-3FFC-9578-3BCEB6AFD0DC}"/>
              </a:ext>
            </a:extLst>
          </p:cNvPr>
          <p:cNvPicPr>
            <a:picLocks noChangeAspect="1"/>
          </p:cNvPicPr>
          <p:nvPr/>
        </p:nvPicPr>
        <p:blipFill>
          <a:blip r:embed="rId2"/>
          <a:stretch>
            <a:fillRect/>
          </a:stretch>
        </p:blipFill>
        <p:spPr>
          <a:xfrm>
            <a:off x="1681771" y="1638034"/>
            <a:ext cx="6542457" cy="4715284"/>
          </a:xfrm>
          <a:prstGeom prst="rect">
            <a:avLst/>
          </a:prstGeom>
        </p:spPr>
      </p:pic>
    </p:spTree>
    <p:extLst>
      <p:ext uri="{BB962C8B-B14F-4D97-AF65-F5344CB8AC3E}">
        <p14:creationId xmlns:p14="http://schemas.microsoft.com/office/powerpoint/2010/main" val="4207312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9715A-87D1-D3AD-27F2-357F7AD30257}"/>
              </a:ext>
            </a:extLst>
          </p:cNvPr>
          <p:cNvSpPr>
            <a:spLocks noGrp="1"/>
          </p:cNvSpPr>
          <p:nvPr>
            <p:ph type="ctrTitle"/>
          </p:nvPr>
        </p:nvSpPr>
        <p:spPr/>
        <p:txBody>
          <a:bodyPr/>
          <a:lstStyle/>
          <a:p>
            <a:r>
              <a:rPr lang="fr-FR" dirty="0"/>
              <a:t>Besoin non fonctionnel</a:t>
            </a:r>
          </a:p>
        </p:txBody>
      </p:sp>
      <p:sp>
        <p:nvSpPr>
          <p:cNvPr id="3" name="Espace réservé du texte 2">
            <a:extLst>
              <a:ext uri="{FF2B5EF4-FFF2-40B4-BE49-F238E27FC236}">
                <a16:creationId xmlns:a16="http://schemas.microsoft.com/office/drawing/2014/main" id="{F131E279-D6EC-C728-284A-650175C2D900}"/>
              </a:ext>
            </a:extLst>
          </p:cNvPr>
          <p:cNvSpPr>
            <a:spLocks noGrp="1"/>
          </p:cNvSpPr>
          <p:nvPr>
            <p:ph type="body" sz="quarter" idx="14"/>
          </p:nvPr>
        </p:nvSpPr>
        <p:spPr>
          <a:xfrm>
            <a:off x="549472" y="1341774"/>
            <a:ext cx="8778677" cy="4747697"/>
          </a:xfrm>
        </p:spPr>
        <p:txBody>
          <a:bodyPr/>
          <a:lstStyle/>
          <a:p>
            <a:pPr>
              <a:spcAft>
                <a:spcPts val="1500"/>
              </a:spcAft>
            </a:pP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F</a:t>
            </a:r>
            <a:r>
              <a:rPr lang="fr-FR" sz="1800" b="1" dirty="0">
                <a:solidFill>
                  <a:srgbClr val="222C4A"/>
                </a:solidFill>
                <a:latin typeface="Calibri" panose="020F0502020204030204" pitchFamily="34" charset="0"/>
                <a:ea typeface="Verdana" panose="020B0604030504040204" pitchFamily="34" charset="0"/>
                <a:cs typeface="Calibri" panose="020F0502020204030204" pitchFamily="34" charset="0"/>
              </a:rPr>
              <a:t> :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onctionnalités concrètes du produit != </a:t>
            </a:r>
            <a:r>
              <a:rPr lang="fr-FR" sz="1800" dirty="0">
                <a:solidFill>
                  <a:srgbClr val="222C4A"/>
                </a:solidFill>
                <a:latin typeface="Calibri" panose="020F0502020204030204" pitchFamily="34" charset="0"/>
                <a:ea typeface="Verdana" panose="020B0604030504040204" pitchFamily="34" charset="0"/>
                <a:cs typeface="Calibri" panose="020F0502020204030204" pitchFamily="34" charset="0"/>
              </a:rPr>
              <a:t>BNF</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indicateurs de qualité de l’exécution des besoins fonctionnels. </a:t>
            </a:r>
            <a:endPar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endParaRPr>
          </a:p>
          <a:p>
            <a:pPr marL="28575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Conformité du système à un environnemen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normes réglementaires, licences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Mainten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erreurs, possibilité des mises à jour, testabilité, ..</a:t>
            </a: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erformance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harge utilisateurs / transactions.</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Port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ompatibilité avec diverses plateformes, facilité de remplacement d’autres systèmes en place, facilité d’installation et de désinstallation de l’application,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Fiabil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capacité à gérer les erreurs du système, densité des défauts de qualité, capacité à être remis en état rapidement, capacité à résister aux attaques, etc.</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Sécurité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traçage des MAJ des données, gestion de la confidentialité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pPr marL="285750" lvl="0" indent="-285750">
              <a:spcAft>
                <a:spcPts val="1500"/>
              </a:spcAft>
              <a:buFont typeface="Arial" panose="020B0604020202020204" pitchFamily="34" charset="0"/>
              <a:buChar char="•"/>
            </a:pP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Utilisation du systèm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facilité d’utilisation en limitant le nombre de clic à maximum 3 clics pour finaliser la transaction, rendre l’application attractive, ….</a:t>
            </a:r>
            <a:endParaRPr lang="fr-FR" dirty="0"/>
          </a:p>
        </p:txBody>
      </p:sp>
    </p:spTree>
    <p:extLst>
      <p:ext uri="{BB962C8B-B14F-4D97-AF65-F5344CB8AC3E}">
        <p14:creationId xmlns:p14="http://schemas.microsoft.com/office/powerpoint/2010/main" val="1062965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B742936-3CB9-5F51-ECFA-38C6D17A473F}"/>
              </a:ext>
            </a:extLst>
          </p:cNvPr>
          <p:cNvSpPr>
            <a:spLocks noGrp="1"/>
          </p:cNvSpPr>
          <p:nvPr>
            <p:ph type="body" sz="quarter" idx="13"/>
          </p:nvPr>
        </p:nvSpPr>
        <p:spPr/>
        <p:txBody>
          <a:bodyPr/>
          <a:lstStyle/>
          <a:p>
            <a:r>
              <a:rPr lang="fr-FR" dirty="0"/>
              <a:t>05</a:t>
            </a:r>
          </a:p>
        </p:txBody>
      </p:sp>
      <p:sp>
        <p:nvSpPr>
          <p:cNvPr id="4" name="Titre 3">
            <a:extLst>
              <a:ext uri="{FF2B5EF4-FFF2-40B4-BE49-F238E27FC236}">
                <a16:creationId xmlns:a16="http://schemas.microsoft.com/office/drawing/2014/main" id="{E0FDE40A-182D-7039-BF70-BC70FEEDB3F7}"/>
              </a:ext>
            </a:extLst>
          </p:cNvPr>
          <p:cNvSpPr>
            <a:spLocks noGrp="1"/>
          </p:cNvSpPr>
          <p:nvPr>
            <p:ph type="title"/>
          </p:nvPr>
        </p:nvSpPr>
        <p:spPr/>
        <p:txBody>
          <a:bodyPr/>
          <a:lstStyle/>
          <a:p>
            <a:r>
              <a:rPr lang="fr-FR" dirty="0"/>
              <a:t>Conception technique</a:t>
            </a:r>
          </a:p>
        </p:txBody>
      </p:sp>
      <p:pic>
        <p:nvPicPr>
          <p:cNvPr id="5" name="Image 4">
            <a:extLst>
              <a:ext uri="{FF2B5EF4-FFF2-40B4-BE49-F238E27FC236}">
                <a16:creationId xmlns:a16="http://schemas.microsoft.com/office/drawing/2014/main" id="{AEB60E03-4505-183C-FDDE-FC3E2E48288F}"/>
              </a:ext>
            </a:extLst>
          </p:cNvPr>
          <p:cNvPicPr>
            <a:picLocks noChangeAspect="1"/>
          </p:cNvPicPr>
          <p:nvPr/>
        </p:nvPicPr>
        <p:blipFill>
          <a:blip r:embed="rId2"/>
          <a:stretch>
            <a:fillRect/>
          </a:stretch>
        </p:blipFill>
        <p:spPr>
          <a:xfrm>
            <a:off x="7569302" y="6032500"/>
            <a:ext cx="2336698" cy="825500"/>
          </a:xfrm>
          <a:prstGeom prst="rect">
            <a:avLst/>
          </a:prstGeom>
        </p:spPr>
      </p:pic>
      <p:sp>
        <p:nvSpPr>
          <p:cNvPr id="2" name="ZoneTexte 1">
            <a:extLst>
              <a:ext uri="{FF2B5EF4-FFF2-40B4-BE49-F238E27FC236}">
                <a16:creationId xmlns:a16="http://schemas.microsoft.com/office/drawing/2014/main" id="{F59C5F53-FD61-207E-91B8-30E384C7EC57}"/>
              </a:ext>
            </a:extLst>
          </p:cNvPr>
          <p:cNvSpPr txBox="1"/>
          <p:nvPr/>
        </p:nvSpPr>
        <p:spPr>
          <a:xfrm>
            <a:off x="1073150" y="4222750"/>
            <a:ext cx="2419350" cy="1200329"/>
          </a:xfrm>
          <a:prstGeom prst="rect">
            <a:avLst/>
          </a:prstGeom>
          <a:noFill/>
        </p:spPr>
        <p:txBody>
          <a:bodyPr wrap="square" rtlCol="0">
            <a:spAutoFit/>
          </a:bodyPr>
          <a:lstStyle/>
          <a:p>
            <a:pPr marL="285750" indent="-285750">
              <a:buFont typeface="Arial" panose="020B0604020202020204" pitchFamily="34" charset="0"/>
              <a:buChar char="•"/>
            </a:pPr>
            <a:r>
              <a:rPr lang="fr-FR" dirty="0">
                <a:solidFill>
                  <a:schemeClr val="bg1"/>
                </a:solidFill>
              </a:rPr>
              <a:t>Présentation des composants</a:t>
            </a:r>
          </a:p>
          <a:p>
            <a:pPr marL="285750" indent="-285750">
              <a:buFont typeface="Arial" panose="020B0604020202020204" pitchFamily="34" charset="0"/>
              <a:buChar char="•"/>
            </a:pPr>
            <a:endParaRPr lang="fr-FR" dirty="0">
              <a:solidFill>
                <a:schemeClr val="bg1"/>
              </a:solidFill>
            </a:endParaRPr>
          </a:p>
          <a:p>
            <a:pPr marL="285750" indent="-285750">
              <a:buFont typeface="Arial" panose="020B0604020202020204" pitchFamily="34" charset="0"/>
              <a:buChar char="•"/>
            </a:pPr>
            <a:r>
              <a:rPr lang="fr-FR" dirty="0">
                <a:solidFill>
                  <a:schemeClr val="bg1"/>
                </a:solidFill>
              </a:rPr>
              <a:t>Ma mission</a:t>
            </a:r>
          </a:p>
        </p:txBody>
      </p:sp>
    </p:spTree>
    <p:extLst>
      <p:ext uri="{BB962C8B-B14F-4D97-AF65-F5344CB8AC3E}">
        <p14:creationId xmlns:p14="http://schemas.microsoft.com/office/powerpoint/2010/main" val="367023966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1</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Présentation des différents composants de Hub Entreprendre</a:t>
            </a:r>
          </a:p>
        </p:txBody>
      </p:sp>
    </p:spTree>
    <p:extLst>
      <p:ext uri="{BB962C8B-B14F-4D97-AF65-F5344CB8AC3E}">
        <p14:creationId xmlns:p14="http://schemas.microsoft.com/office/powerpoint/2010/main" val="12589805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989474"/>
            <a:ext cx="8694148" cy="3999287"/>
          </a:xfrm>
        </p:spPr>
        <p:txBody>
          <a:bodyPr/>
          <a:lstStyle/>
          <a:p>
            <a:r>
              <a:rPr lang="fr-FR" sz="1800" b="0" i="0" u="none" strike="noStrike" baseline="0" dirty="0">
                <a:solidFill>
                  <a:srgbClr val="000000"/>
                </a:solidFill>
                <a:latin typeface="Calibri" panose="020F0502020204030204" pitchFamily="34" charset="0"/>
              </a:rPr>
              <a:t>Le Backend est une </a:t>
            </a:r>
            <a:r>
              <a:rPr lang="fr-FR" sz="1800" b="1" i="0" u="none" strike="noStrike" baseline="0" dirty="0">
                <a:solidFill>
                  <a:srgbClr val="000000"/>
                </a:solidFill>
                <a:latin typeface="Calibri" panose="020F0502020204030204" pitchFamily="34" charset="0"/>
              </a:rPr>
              <a:t>API centralisée </a:t>
            </a:r>
            <a:r>
              <a:rPr lang="fr-FR" sz="1800" b="0" i="0" u="none" strike="noStrike" baseline="0" dirty="0">
                <a:solidFill>
                  <a:srgbClr val="000000"/>
                </a:solidFill>
                <a:latin typeface="Calibri" panose="020F0502020204030204" pitchFamily="34" charset="0"/>
              </a:rPr>
              <a:t>répondant aux sollicitations des </a:t>
            </a:r>
            <a:r>
              <a:rPr lang="fr-FR" sz="1800" b="1" i="0" u="none" strike="noStrike" baseline="0" dirty="0">
                <a:solidFill>
                  <a:srgbClr val="000000"/>
                </a:solidFill>
                <a:latin typeface="Calibri" panose="020F0502020204030204" pitchFamily="34" charset="0"/>
              </a:rPr>
              <a:t>3 portails Web </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Back-Offic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 Front-Agent</a:t>
            </a:r>
          </a:p>
          <a:p>
            <a:pPr marL="285750" indent="-285750">
              <a:buFont typeface="Arial" panose="020B0604020202020204" pitchFamily="34" charset="0"/>
              <a:buChar char="•"/>
            </a:pPr>
            <a:endParaRPr lang="fr-FR" sz="1800" dirty="0">
              <a:solidFill>
                <a:srgbClr val="000000"/>
              </a:solidFill>
              <a:latin typeface="Calibri" panose="020F0502020204030204" pitchFamily="34" charset="0"/>
            </a:endParaRPr>
          </a:p>
          <a:p>
            <a:r>
              <a:rPr lang="fr-FR" sz="1800" b="1" i="0" u="none" strike="noStrike" baseline="0" dirty="0">
                <a:solidFill>
                  <a:srgbClr val="000000"/>
                </a:solidFill>
                <a:latin typeface="Calibri" panose="020F0502020204030204" pitchFamily="34" charset="0"/>
              </a:rPr>
              <a:t>Maven</a:t>
            </a:r>
            <a:r>
              <a:rPr lang="fr-FR" sz="1800" b="0" i="0" u="none" strike="noStrike" baseline="0" dirty="0">
                <a:solidFill>
                  <a:srgbClr val="000000"/>
                </a:solidFill>
                <a:latin typeface="Calibri" panose="020F0502020204030204" pitchFamily="34" charset="0"/>
              </a:rPr>
              <a:t> : outil permettant d'automatiser la gestion de projets Java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Compilation et déploiement des applications Java (JAR, WA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Gestion des librairies requises par l'application</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    Exécution des tests unitaires</a:t>
            </a:r>
          </a:p>
          <a:p>
            <a:endParaRPr lang="fr-FR" dirty="0"/>
          </a:p>
        </p:txBody>
      </p:sp>
    </p:spTree>
    <p:extLst>
      <p:ext uri="{BB962C8B-B14F-4D97-AF65-F5344CB8AC3E}">
        <p14:creationId xmlns:p14="http://schemas.microsoft.com/office/powerpoint/2010/main" val="621297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D8ECFC8-D449-D8A6-8244-D571ADF80384}"/>
              </a:ext>
            </a:extLst>
          </p:cNvPr>
          <p:cNvSpPr>
            <a:spLocks noGrp="1"/>
          </p:cNvSpPr>
          <p:nvPr>
            <p:ph type="ctrTitle"/>
          </p:nvPr>
        </p:nvSpPr>
        <p:spPr/>
        <p:txBody>
          <a:bodyPr/>
          <a:lstStyle/>
          <a:p>
            <a:r>
              <a:rPr lang="fr-FR" dirty="0"/>
              <a:t>En France</a:t>
            </a:r>
          </a:p>
        </p:txBody>
      </p:sp>
      <p:sp>
        <p:nvSpPr>
          <p:cNvPr id="4" name="Espace réservé du texte 3">
            <a:extLst>
              <a:ext uri="{FF2B5EF4-FFF2-40B4-BE49-F238E27FC236}">
                <a16:creationId xmlns:a16="http://schemas.microsoft.com/office/drawing/2014/main" id="{9D65D033-0FD7-AF56-74AC-9A7577B0EB01}"/>
              </a:ext>
            </a:extLst>
          </p:cNvPr>
          <p:cNvSpPr>
            <a:spLocks noGrp="1"/>
          </p:cNvSpPr>
          <p:nvPr>
            <p:ph type="body" sz="quarter" idx="12"/>
          </p:nvPr>
        </p:nvSpPr>
        <p:spPr>
          <a:xfrm>
            <a:off x="4858148" y="1568760"/>
            <a:ext cx="4974010" cy="1860240"/>
          </a:xfrm>
        </p:spPr>
        <p:txBody>
          <a:bodyPr/>
          <a:lstStyle/>
          <a:p>
            <a:r>
              <a:rPr lang="fr-FR" sz="1800" dirty="0">
                <a:solidFill>
                  <a:srgbClr val="222C4A"/>
                </a:solidFill>
                <a:latin typeface="+mj-lt"/>
                <a:ea typeface="Verdana" panose="020B0604030504040204" pitchFamily="34" charset="0"/>
                <a:cs typeface="Calibri" panose="020F0502020204030204" pitchFamily="34" charset="0"/>
              </a:rPr>
              <a:t>F</a:t>
            </a:r>
            <a:r>
              <a:rPr lang="fr-FR" sz="1800" dirty="0">
                <a:solidFill>
                  <a:srgbClr val="222C4A"/>
                </a:solidFill>
                <a:effectLst/>
                <a:latin typeface="+mj-lt"/>
                <a:ea typeface="Verdana" panose="020B0604030504040204" pitchFamily="34" charset="0"/>
                <a:cs typeface="Calibri" panose="020F0502020204030204" pitchFamily="34" charset="0"/>
              </a:rPr>
              <a:t>orte implantation sur le territoire français en raison de son histoire</a:t>
            </a:r>
          </a:p>
          <a:p>
            <a:r>
              <a:rPr lang="fr-FR" sz="1800" b="1" dirty="0">
                <a:solidFill>
                  <a:srgbClr val="222C4A"/>
                </a:solidFill>
                <a:effectLst/>
                <a:latin typeface="+mj-lt"/>
                <a:ea typeface="Verdana" panose="020B0604030504040204" pitchFamily="34" charset="0"/>
                <a:cs typeface="Calibri" panose="020F0502020204030204" pitchFamily="34" charset="0"/>
              </a:rPr>
              <a:t>39% du chiffre d’affaires</a:t>
            </a:r>
            <a:r>
              <a:rPr lang="fr-FR" sz="1800" dirty="0">
                <a:solidFill>
                  <a:srgbClr val="222C4A"/>
                </a:solidFill>
                <a:effectLst/>
                <a:latin typeface="+mj-lt"/>
                <a:ea typeface="Verdana" panose="020B0604030504040204" pitchFamily="34" charset="0"/>
                <a:cs typeface="Calibri" panose="020F0502020204030204" pitchFamily="34" charset="0"/>
              </a:rPr>
              <a:t> </a:t>
            </a:r>
          </a:p>
          <a:p>
            <a:r>
              <a:rPr lang="fr-FR" sz="1800" b="1" dirty="0">
                <a:solidFill>
                  <a:srgbClr val="222C4A"/>
                </a:solidFill>
                <a:effectLst/>
                <a:latin typeface="+mj-lt"/>
                <a:ea typeface="Verdana" panose="020B0604030504040204" pitchFamily="34" charset="0"/>
                <a:cs typeface="Calibri" panose="020F0502020204030204" pitchFamily="34" charset="0"/>
              </a:rPr>
              <a:t>11.000 consultants</a:t>
            </a:r>
            <a:endParaRPr lang="fr-FR" sz="1800" dirty="0">
              <a:solidFill>
                <a:srgbClr val="222C4A"/>
              </a:solidFill>
              <a:effectLst/>
              <a:latin typeface="+mj-lt"/>
              <a:ea typeface="Verdana" panose="020B0604030504040204" pitchFamily="34" charset="0"/>
              <a:cs typeface="Calibri" panose="020F0502020204030204" pitchFamily="34" charset="0"/>
            </a:endParaRPr>
          </a:p>
          <a:p>
            <a:endParaRPr lang="fr-FR" dirty="0"/>
          </a:p>
        </p:txBody>
      </p:sp>
      <p:pic>
        <p:nvPicPr>
          <p:cNvPr id="6" name="Image 5">
            <a:extLst>
              <a:ext uri="{FF2B5EF4-FFF2-40B4-BE49-F238E27FC236}">
                <a16:creationId xmlns:a16="http://schemas.microsoft.com/office/drawing/2014/main" id="{6DCD8D6D-C374-8E52-53A6-98719D075F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595" y="4257674"/>
            <a:ext cx="3081852" cy="657225"/>
          </a:xfrm>
          <a:prstGeom prst="rect">
            <a:avLst/>
          </a:prstGeom>
        </p:spPr>
      </p:pic>
      <p:pic>
        <p:nvPicPr>
          <p:cNvPr id="7" name="Image 6" descr="Une image contenant carte&#10;&#10;Description générée automatiquement">
            <a:extLst>
              <a:ext uri="{FF2B5EF4-FFF2-40B4-BE49-F238E27FC236}">
                <a16:creationId xmlns:a16="http://schemas.microsoft.com/office/drawing/2014/main" id="{19AD281B-E211-E87C-B9C5-6791913D7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340" y="1735455"/>
            <a:ext cx="4448810" cy="4071620"/>
          </a:xfrm>
          <a:prstGeom prst="rect">
            <a:avLst/>
          </a:prstGeom>
        </p:spPr>
      </p:pic>
      <p:pic>
        <p:nvPicPr>
          <p:cNvPr id="8" name="Image 7">
            <a:extLst>
              <a:ext uri="{FF2B5EF4-FFF2-40B4-BE49-F238E27FC236}">
                <a16:creationId xmlns:a16="http://schemas.microsoft.com/office/drawing/2014/main" id="{59F4EF7A-2460-D143-4BEB-A0ED590A2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7920" y="4004945"/>
            <a:ext cx="1403350" cy="1498600"/>
          </a:xfrm>
          <a:prstGeom prst="rect">
            <a:avLst/>
          </a:prstGeom>
        </p:spPr>
      </p:pic>
    </p:spTree>
    <p:extLst>
      <p:ext uri="{BB962C8B-B14F-4D97-AF65-F5344CB8AC3E}">
        <p14:creationId xmlns:p14="http://schemas.microsoft.com/office/powerpoint/2010/main" val="23831018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A5D800-AB91-3A1F-7D69-079CBCC880A8}"/>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CEA23B34-31AF-849D-C75E-E001B49CC54F}"/>
              </a:ext>
            </a:extLst>
          </p:cNvPr>
          <p:cNvSpPr>
            <a:spLocks noGrp="1"/>
          </p:cNvSpPr>
          <p:nvPr>
            <p:ph type="body" sz="quarter" idx="14"/>
          </p:nvPr>
        </p:nvSpPr>
        <p:spPr>
          <a:xfrm>
            <a:off x="549473" y="1354474"/>
            <a:ext cx="8694148" cy="3878356"/>
          </a:xfrm>
        </p:spPr>
        <p:txBody>
          <a:bodyPr/>
          <a:lstStyle/>
          <a:p>
            <a:r>
              <a:rPr lang="fr-FR" dirty="0"/>
              <a:t>Le framework </a:t>
            </a:r>
            <a:r>
              <a:rPr lang="fr-FR" b="1" dirty="0"/>
              <a:t>SPRING</a:t>
            </a:r>
            <a:r>
              <a:rPr lang="fr-FR" dirty="0"/>
              <a:t> et son module </a:t>
            </a:r>
            <a:r>
              <a:rPr lang="fr-FR" b="1" dirty="0"/>
              <a:t>Spring Boot </a:t>
            </a:r>
          </a:p>
          <a:p>
            <a:endParaRPr lang="fr-FR" b="1" dirty="0"/>
          </a:p>
          <a:p>
            <a:r>
              <a:rPr lang="fr-FR" dirty="0"/>
              <a:t>• </a:t>
            </a:r>
            <a:r>
              <a:rPr lang="fr-FR" b="1" dirty="0"/>
              <a:t>Spring Data REST </a:t>
            </a:r>
            <a:r>
              <a:rPr lang="fr-FR" dirty="0"/>
              <a:t>afin d’obtenir une API REST qui fournira des services web grâce à des requêtes HTTPS (GET, POST…). </a:t>
            </a:r>
          </a:p>
          <a:p>
            <a:endParaRPr lang="fr-FR" dirty="0"/>
          </a:p>
          <a:p>
            <a:r>
              <a:rPr lang="fr-FR" dirty="0"/>
              <a:t>• </a:t>
            </a:r>
            <a:r>
              <a:rPr lang="fr-FR" b="1" dirty="0"/>
              <a:t>Spring Data jpa </a:t>
            </a:r>
            <a:r>
              <a:rPr lang="fr-FR" dirty="0"/>
              <a:t>qui permet d’améliorer les couches d'accès aux données basées sur JPA.</a:t>
            </a:r>
          </a:p>
          <a:p>
            <a:endParaRPr lang="fr-FR" dirty="0"/>
          </a:p>
          <a:p>
            <a:r>
              <a:rPr lang="fr-FR" dirty="0"/>
              <a:t>• </a:t>
            </a:r>
            <a:r>
              <a:rPr lang="fr-FR" b="1" dirty="0"/>
              <a:t>Spring MVC </a:t>
            </a:r>
            <a:r>
              <a:rPr lang="fr-FR" dirty="0"/>
              <a:t>architecture de type MVC pour développer une application Web flexible et faiblement couplée.</a:t>
            </a:r>
          </a:p>
          <a:p>
            <a:endParaRPr lang="fr-FR" dirty="0"/>
          </a:p>
          <a:p>
            <a:r>
              <a:rPr lang="fr-FR" dirty="0"/>
              <a:t>• </a:t>
            </a:r>
            <a:r>
              <a:rPr lang="fr-FR" b="1" dirty="0"/>
              <a:t>Spring Security </a:t>
            </a:r>
            <a:r>
              <a:rPr lang="fr-FR" dirty="0"/>
              <a:t>pour l’'authentification et le contrôle d'accès afin de sécuriser l’application. Il est configuré avec Keycloak via un adaptateur client. </a:t>
            </a:r>
          </a:p>
        </p:txBody>
      </p:sp>
    </p:spTree>
    <p:extLst>
      <p:ext uri="{BB962C8B-B14F-4D97-AF65-F5344CB8AC3E}">
        <p14:creationId xmlns:p14="http://schemas.microsoft.com/office/powerpoint/2010/main" val="1967034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8FD35F-2E36-0E50-AAE6-8C961958D027}"/>
              </a:ext>
            </a:extLst>
          </p:cNvPr>
          <p:cNvSpPr>
            <a:spLocks noGrp="1"/>
          </p:cNvSpPr>
          <p:nvPr>
            <p:ph type="ctrTitle"/>
          </p:nvPr>
        </p:nvSpPr>
        <p:spPr/>
        <p:txBody>
          <a:bodyPr/>
          <a:lstStyle/>
          <a:p>
            <a:r>
              <a:rPr lang="fr-FR" dirty="0"/>
              <a:t>Le Backend Hub Entreprendre</a:t>
            </a:r>
          </a:p>
        </p:txBody>
      </p:sp>
      <p:sp>
        <p:nvSpPr>
          <p:cNvPr id="3" name="Espace réservé du texte 2">
            <a:extLst>
              <a:ext uri="{FF2B5EF4-FFF2-40B4-BE49-F238E27FC236}">
                <a16:creationId xmlns:a16="http://schemas.microsoft.com/office/drawing/2014/main" id="{9A5C8868-8C7B-51C0-F193-A61BF4B5D94C}"/>
              </a:ext>
            </a:extLst>
          </p:cNvPr>
          <p:cNvSpPr>
            <a:spLocks noGrp="1"/>
          </p:cNvSpPr>
          <p:nvPr>
            <p:ph type="body" sz="quarter" idx="14"/>
          </p:nvPr>
        </p:nvSpPr>
        <p:spPr>
          <a:xfrm>
            <a:off x="549473" y="1398924"/>
            <a:ext cx="4530528" cy="5158963"/>
          </a:xfrm>
        </p:spPr>
        <p:txBody>
          <a:bodyPr/>
          <a:lstStyle/>
          <a:p>
            <a:r>
              <a:rPr lang="fr-FR" b="1" dirty="0"/>
              <a:t>plusieurs couches : </a:t>
            </a:r>
            <a:r>
              <a:rPr lang="fr-FR" dirty="0"/>
              <a:t>responsabilité unique, couplage faible et cohésion forte</a:t>
            </a:r>
          </a:p>
          <a:p>
            <a:r>
              <a:rPr lang="fr-FR" dirty="0"/>
              <a:t>Chaque couche à un rôle et intègre le </a:t>
            </a:r>
            <a:r>
              <a:rPr lang="fr-FR" b="1" dirty="0"/>
              <a:t>Design Pattern MVC </a:t>
            </a:r>
            <a:r>
              <a:rPr lang="fr-FR" dirty="0"/>
              <a:t>:</a:t>
            </a:r>
          </a:p>
          <a:p>
            <a:r>
              <a:rPr lang="fr-FR" dirty="0"/>
              <a:t>• </a:t>
            </a:r>
            <a:r>
              <a:rPr lang="fr-FR" b="1" dirty="0"/>
              <a:t>Le Modèle : </a:t>
            </a:r>
            <a:r>
              <a:rPr lang="fr-FR" dirty="0"/>
              <a:t>implémentation des objets métiers manipulés par les autres couches.</a:t>
            </a:r>
          </a:p>
          <a:p>
            <a:r>
              <a:rPr lang="fr-FR" dirty="0"/>
              <a:t>• </a:t>
            </a:r>
            <a:r>
              <a:rPr lang="fr-FR" b="1" dirty="0"/>
              <a:t>La Vue : </a:t>
            </a:r>
            <a:r>
              <a:rPr lang="fr-FR" dirty="0"/>
              <a:t>affiche les informations au niveau du client (front Angular).</a:t>
            </a:r>
          </a:p>
          <a:p>
            <a:r>
              <a:rPr lang="fr-FR" dirty="0"/>
              <a:t>• </a:t>
            </a:r>
            <a:r>
              <a:rPr lang="fr-FR" b="1" dirty="0"/>
              <a:t>Le Contrôleur  : </a:t>
            </a:r>
            <a:r>
              <a:rPr lang="fr-FR" dirty="0"/>
              <a:t>interactions entre l’utilisateur et le système. Dans le cadre d’une application Web, les interactions avec le serveur correspondent aux requêtes HTTP émises par le navigateur client.</a:t>
            </a:r>
          </a:p>
          <a:p>
            <a:r>
              <a:rPr lang="fr-FR" dirty="0"/>
              <a:t>• </a:t>
            </a:r>
            <a:r>
              <a:rPr lang="fr-FR" b="1" dirty="0"/>
              <a:t>La couche Service :</a:t>
            </a:r>
            <a:r>
              <a:rPr lang="fr-FR" dirty="0"/>
              <a:t> implémente des traitements métiers spécifiques à l’application Hub.</a:t>
            </a:r>
          </a:p>
          <a:p>
            <a:r>
              <a:rPr lang="fr-FR" dirty="0"/>
              <a:t>• </a:t>
            </a:r>
            <a:r>
              <a:rPr lang="fr-FR" b="1" dirty="0"/>
              <a:t>La couche Repository : </a:t>
            </a:r>
            <a:r>
              <a:rPr lang="fr-FR" dirty="0"/>
              <a:t> traite les interactions avec la BDD</a:t>
            </a:r>
          </a:p>
        </p:txBody>
      </p:sp>
      <p:pic>
        <p:nvPicPr>
          <p:cNvPr id="5" name="Image 4">
            <a:extLst>
              <a:ext uri="{FF2B5EF4-FFF2-40B4-BE49-F238E27FC236}">
                <a16:creationId xmlns:a16="http://schemas.microsoft.com/office/drawing/2014/main" id="{85C0AD8F-E09C-108C-E096-F52FC7DFA134}"/>
              </a:ext>
            </a:extLst>
          </p:cNvPr>
          <p:cNvPicPr>
            <a:picLocks noChangeAspect="1"/>
          </p:cNvPicPr>
          <p:nvPr/>
        </p:nvPicPr>
        <p:blipFill>
          <a:blip r:embed="rId2"/>
          <a:stretch>
            <a:fillRect/>
          </a:stretch>
        </p:blipFill>
        <p:spPr>
          <a:xfrm>
            <a:off x="5225845" y="2064364"/>
            <a:ext cx="4680155" cy="3618271"/>
          </a:xfrm>
          <a:prstGeom prst="rect">
            <a:avLst/>
          </a:prstGeom>
        </p:spPr>
      </p:pic>
    </p:spTree>
    <p:extLst>
      <p:ext uri="{BB962C8B-B14F-4D97-AF65-F5344CB8AC3E}">
        <p14:creationId xmlns:p14="http://schemas.microsoft.com/office/powerpoint/2010/main" val="24991398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EE2348-4B5D-FBBA-8349-F7A6EC028CF8}"/>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14E42B6A-85C2-28F9-32B0-A58E6FA454E6}"/>
              </a:ext>
            </a:extLst>
          </p:cNvPr>
          <p:cNvSpPr>
            <a:spLocks noGrp="1"/>
          </p:cNvSpPr>
          <p:nvPr>
            <p:ph type="body" sz="quarter" idx="14"/>
          </p:nvPr>
        </p:nvSpPr>
        <p:spPr>
          <a:xfrm>
            <a:off x="155773" y="1265574"/>
            <a:ext cx="6435527" cy="5484476"/>
          </a:xfrm>
        </p:spPr>
        <p:txBody>
          <a:bodyPr/>
          <a:lstStyle/>
          <a:p>
            <a:r>
              <a:rPr lang="fr-FR" sz="1800" b="1" i="0" u="none" strike="noStrike" baseline="0" dirty="0">
                <a:solidFill>
                  <a:srgbClr val="000000"/>
                </a:solidFill>
                <a:latin typeface="Calibri" panose="020F0502020204030204" pitchFamily="34" charset="0"/>
              </a:rPr>
              <a:t>config : </a:t>
            </a:r>
            <a:r>
              <a:rPr lang="fr-FR" sz="1800" b="0" i="0" u="none" strike="noStrike" baseline="0" dirty="0">
                <a:solidFill>
                  <a:srgbClr val="000000"/>
                </a:solidFill>
                <a:latin typeface="Calibri" panose="020F0502020204030204" pitchFamily="34" charset="0"/>
              </a:rPr>
              <a:t>clients Elasticsearch, progos et WebMvcConfig </a:t>
            </a:r>
          </a:p>
          <a:p>
            <a:r>
              <a:rPr lang="fr-FR" sz="1800" b="1" i="0" u="none" strike="noStrike" baseline="0" dirty="0">
                <a:solidFill>
                  <a:srgbClr val="000000"/>
                </a:solidFill>
                <a:latin typeface="Calibri" panose="020F0502020204030204" pitchFamily="34" charset="0"/>
              </a:rPr>
              <a:t>constant : </a:t>
            </a:r>
            <a:r>
              <a:rPr lang="fr-FR" sz="1800" b="0" i="0" u="none" strike="noStrike" baseline="0" dirty="0">
                <a:solidFill>
                  <a:srgbClr val="000000"/>
                </a:solidFill>
                <a:latin typeface="Calibri" panose="020F0502020204030204" pitchFamily="34" charset="0"/>
              </a:rPr>
              <a:t>gestion des autorisations d’accès des différents Endpoint suivant le rôle de l’utilisateur. </a:t>
            </a:r>
          </a:p>
          <a:p>
            <a:r>
              <a:rPr lang="fr-FR" sz="1800" b="1" i="0" u="none" strike="noStrike" baseline="0" dirty="0" err="1">
                <a:solidFill>
                  <a:srgbClr val="000000"/>
                </a:solidFill>
                <a:latin typeface="Calibri" panose="020F0502020204030204" pitchFamily="34" charset="0"/>
              </a:rPr>
              <a:t>controller</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retourne une réponse avec l’aide du Model en exposant des Endpoints afin que l’IHM puisse recevoir un service à travers des requêtes http. </a:t>
            </a:r>
          </a:p>
          <a:p>
            <a:r>
              <a:rPr lang="fr-FR" sz="1800" b="1" i="0" u="none" strike="noStrike" baseline="0" dirty="0" err="1">
                <a:solidFill>
                  <a:srgbClr val="000000"/>
                </a:solidFill>
                <a:latin typeface="Calibri" panose="020F0502020204030204" pitchFamily="34" charset="0"/>
              </a:rPr>
              <a:t>domain</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Il rassemble des classes par domaine comme les énumérations, les </a:t>
            </a:r>
            <a:r>
              <a:rPr lang="fr-FR" sz="1800" b="0" i="0" u="none" strike="noStrike" baseline="0" dirty="0" err="1">
                <a:solidFill>
                  <a:srgbClr val="000000"/>
                </a:solidFill>
                <a:latin typeface="Calibri" panose="020F0502020204030204" pitchFamily="34" charset="0"/>
              </a:rPr>
              <a:t>Jsons</a:t>
            </a:r>
            <a:r>
              <a:rPr lang="fr-FR" sz="1800" b="0" i="0" u="none" strike="noStrike" baseline="0" dirty="0">
                <a:solidFill>
                  <a:srgbClr val="000000"/>
                </a:solidFill>
                <a:latin typeface="Calibri" panose="020F0502020204030204" pitchFamily="34" charset="0"/>
              </a:rPr>
              <a:t>, les XML, les emails.</a:t>
            </a:r>
          </a:p>
          <a:p>
            <a:r>
              <a:rPr lang="fr-FR" sz="1800" b="1" i="0" u="none" strike="noStrike" baseline="0" dirty="0">
                <a:solidFill>
                  <a:srgbClr val="000000"/>
                </a:solidFill>
                <a:latin typeface="Calibri" panose="020F0502020204030204" pitchFamily="34" charset="0"/>
              </a:rPr>
              <a:t>entity : </a:t>
            </a:r>
            <a:r>
              <a:rPr lang="fr-FR" sz="1800" b="0" i="0" u="none" strike="noStrike" baseline="0" dirty="0">
                <a:solidFill>
                  <a:srgbClr val="000000"/>
                </a:solidFill>
                <a:latin typeface="Calibri" panose="020F0502020204030204" pitchFamily="34" charset="0"/>
              </a:rPr>
              <a:t>Les entités, DTO et les </a:t>
            </a:r>
            <a:r>
              <a:rPr lang="fr-FR" sz="1800" b="0" i="0" u="none" strike="noStrike" baseline="0" dirty="0" err="1">
                <a:solidFill>
                  <a:srgbClr val="000000"/>
                </a:solidFill>
                <a:latin typeface="Calibri" panose="020F0502020204030204" pitchFamily="34" charset="0"/>
              </a:rPr>
              <a:t>mappers</a:t>
            </a:r>
            <a:r>
              <a:rPr lang="fr-FR" sz="1800" b="0" i="0" u="none" strike="noStrike" baseline="0" dirty="0">
                <a:solidFill>
                  <a:srgbClr val="000000"/>
                </a:solidFill>
                <a:latin typeface="Calibri" panose="020F0502020204030204" pitchFamily="34" charset="0"/>
              </a:rPr>
              <a:t> </a:t>
            </a:r>
          </a:p>
          <a:p>
            <a:r>
              <a:rPr lang="fr-FR" sz="1800" b="1" i="0" u="none" strike="noStrike" baseline="0" dirty="0">
                <a:solidFill>
                  <a:srgbClr val="000000"/>
                </a:solidFill>
                <a:latin typeface="Calibri" panose="020F0502020204030204" pitchFamily="34" charset="0"/>
              </a:rPr>
              <a:t>exception </a:t>
            </a:r>
            <a:r>
              <a:rPr lang="fr-FR" sz="1800" b="0" i="0" u="none" strike="noStrike" baseline="0" dirty="0">
                <a:solidFill>
                  <a:srgbClr val="000000"/>
                </a:solidFill>
                <a:latin typeface="Calibri" panose="020F0502020204030204" pitchFamily="34" charset="0"/>
              </a:rPr>
              <a:t>: classes pour les exceptions </a:t>
            </a:r>
          </a:p>
          <a:p>
            <a:r>
              <a:rPr lang="fr-FR" sz="1800" b="1" i="0" u="none" strike="noStrike" baseline="0" dirty="0" err="1">
                <a:solidFill>
                  <a:srgbClr val="000000"/>
                </a:solidFill>
                <a:latin typeface="Calibri" panose="020F0502020204030204" pitchFamily="34" charset="0"/>
              </a:rPr>
              <a:t>gda</a:t>
            </a:r>
            <a:r>
              <a:rPr lang="fr-FR" sz="1800" b="1" i="0" u="none" strike="noStrike" baseline="0" dirty="0">
                <a:solidFill>
                  <a:srgbClr val="000000"/>
                </a:solidFill>
                <a:latin typeface="Calibri" panose="020F0502020204030204" pitchFamily="34" charset="0"/>
              </a:rPr>
              <a:t> : </a:t>
            </a:r>
            <a:r>
              <a:rPr lang="fr-FR" sz="1800" i="0" u="none" strike="noStrike" baseline="0" dirty="0">
                <a:solidFill>
                  <a:srgbClr val="000000"/>
                </a:solidFill>
                <a:latin typeface="Calibri" panose="020F0502020204030204" pitchFamily="34" charset="0"/>
              </a:rPr>
              <a:t>API</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Grand Angle (données relatif aux paiements) </a:t>
            </a:r>
          </a:p>
          <a:p>
            <a:r>
              <a:rPr lang="fr-FR" sz="1800" b="1" i="0" u="none" strike="noStrike" baseline="0" dirty="0" err="1">
                <a:solidFill>
                  <a:srgbClr val="000000"/>
                </a:solidFill>
                <a:latin typeface="Calibri" panose="020F0502020204030204" pitchFamily="34" charset="0"/>
              </a:rPr>
              <a:t>logging</a:t>
            </a:r>
            <a:r>
              <a:rPr lang="fr-FR" sz="1800" b="1" i="0" u="none" strike="noStrike" baseline="0" dirty="0">
                <a:solidFill>
                  <a:srgbClr val="000000"/>
                </a:solidFill>
                <a:latin typeface="Calibri" panose="020F0502020204030204" pitchFamily="34" charset="0"/>
              </a:rPr>
              <a:t> : </a:t>
            </a:r>
            <a:r>
              <a:rPr lang="fr-FR" sz="1800" b="0" i="0" u="none" strike="noStrike" baseline="0" dirty="0">
                <a:solidFill>
                  <a:srgbClr val="000000"/>
                </a:solidFill>
                <a:latin typeface="Calibri" panose="020F0502020204030204" pitchFamily="34" charset="0"/>
              </a:rPr>
              <a:t>loger avec log4j2 toutes les actions REST effectuées par un utilisateur.</a:t>
            </a:r>
          </a:p>
          <a:p>
            <a:r>
              <a:rPr lang="fr-FR" sz="1800" b="1" i="0" u="none" strike="noStrike" baseline="0" dirty="0">
                <a:solidFill>
                  <a:srgbClr val="000000"/>
                </a:solidFill>
                <a:latin typeface="Calibri" panose="020F0502020204030204" pitchFamily="34" charset="0"/>
              </a:rPr>
              <a:t>progos : </a:t>
            </a:r>
            <a:r>
              <a:rPr lang="fr-FR" sz="1800" b="0" i="0" u="none" strike="noStrike" baseline="0" dirty="0">
                <a:solidFill>
                  <a:srgbClr val="000000"/>
                </a:solidFill>
                <a:latin typeface="Calibri" panose="020F0502020204030204" pitchFamily="34" charset="0"/>
              </a:rPr>
              <a:t>API progos (dossiers de subventions) </a:t>
            </a:r>
          </a:p>
        </p:txBody>
      </p:sp>
      <p:pic>
        <p:nvPicPr>
          <p:cNvPr id="5" name="Image 4">
            <a:extLst>
              <a:ext uri="{FF2B5EF4-FFF2-40B4-BE49-F238E27FC236}">
                <a16:creationId xmlns:a16="http://schemas.microsoft.com/office/drawing/2014/main" id="{B3CC8D76-69E1-BB82-C643-79D77E97B749}"/>
              </a:ext>
            </a:extLst>
          </p:cNvPr>
          <p:cNvPicPr>
            <a:picLocks noChangeAspect="1"/>
          </p:cNvPicPr>
          <p:nvPr/>
        </p:nvPicPr>
        <p:blipFill>
          <a:blip r:embed="rId2"/>
          <a:stretch>
            <a:fillRect/>
          </a:stretch>
        </p:blipFill>
        <p:spPr>
          <a:xfrm>
            <a:off x="6459386" y="1416612"/>
            <a:ext cx="3446614" cy="4726039"/>
          </a:xfrm>
          <a:prstGeom prst="rect">
            <a:avLst/>
          </a:prstGeom>
        </p:spPr>
      </p:pic>
    </p:spTree>
    <p:extLst>
      <p:ext uri="{BB962C8B-B14F-4D97-AF65-F5344CB8AC3E}">
        <p14:creationId xmlns:p14="http://schemas.microsoft.com/office/powerpoint/2010/main" val="13232573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98B745-71D9-1C0C-8676-E95AEB1BE7B3}"/>
              </a:ext>
            </a:extLst>
          </p:cNvPr>
          <p:cNvSpPr>
            <a:spLocks noGrp="1"/>
          </p:cNvSpPr>
          <p:nvPr>
            <p:ph type="ctrTitle"/>
          </p:nvPr>
        </p:nvSpPr>
        <p:spPr/>
        <p:txBody>
          <a:bodyPr/>
          <a:lstStyle/>
          <a:p>
            <a:r>
              <a:rPr lang="fr-FR" dirty="0"/>
              <a:t>Architecture en packages</a:t>
            </a:r>
          </a:p>
        </p:txBody>
      </p:sp>
      <p:sp>
        <p:nvSpPr>
          <p:cNvPr id="3" name="Espace réservé du texte 2">
            <a:extLst>
              <a:ext uri="{FF2B5EF4-FFF2-40B4-BE49-F238E27FC236}">
                <a16:creationId xmlns:a16="http://schemas.microsoft.com/office/drawing/2014/main" id="{626517E6-926B-8AB9-6661-81E65989DE13}"/>
              </a:ext>
            </a:extLst>
          </p:cNvPr>
          <p:cNvSpPr>
            <a:spLocks noGrp="1"/>
          </p:cNvSpPr>
          <p:nvPr>
            <p:ph type="body" sz="quarter" idx="14"/>
          </p:nvPr>
        </p:nvSpPr>
        <p:spPr>
          <a:xfrm>
            <a:off x="549473" y="1989474"/>
            <a:ext cx="5222677" cy="3515976"/>
          </a:xfrm>
        </p:spPr>
        <p:txBody>
          <a:bodyPr/>
          <a:lstStyle/>
          <a:p>
            <a:r>
              <a:rPr lang="fr-FR" sz="1600" b="1" i="0" u="none" strike="noStrike" baseline="0" dirty="0" err="1">
                <a:solidFill>
                  <a:srgbClr val="000000"/>
                </a:solidFill>
                <a:latin typeface="Calibri" panose="020F0502020204030204" pitchFamily="34" charset="0"/>
              </a:rPr>
              <a:t>property</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configuration externalisée </a:t>
            </a:r>
          </a:p>
          <a:p>
            <a:r>
              <a:rPr lang="fr-FR" sz="1600" b="1" i="0" u="none" strike="noStrike" baseline="0" dirty="0">
                <a:solidFill>
                  <a:srgbClr val="000000"/>
                </a:solidFill>
                <a:latin typeface="Calibri" panose="020F0502020204030204" pitchFamily="34" charset="0"/>
              </a:rPr>
              <a:t>repository : </a:t>
            </a:r>
            <a:r>
              <a:rPr lang="fr-FR" sz="1600" b="0" i="0" u="none" strike="noStrike" baseline="0" dirty="0">
                <a:solidFill>
                  <a:srgbClr val="000000"/>
                </a:solidFill>
                <a:latin typeface="Calibri" panose="020F0502020204030204" pitchFamily="34" charset="0"/>
              </a:rPr>
              <a:t>implémentent soit l’interface « CrudRepository » pour la BDD relationnelle, soit l’interface « ElasticsearchRepository » pour la BDD no SQL. </a:t>
            </a:r>
          </a:p>
          <a:p>
            <a:r>
              <a:rPr lang="fr-FR" sz="1600" b="1" i="0" u="none" strike="noStrike" baseline="0" dirty="0">
                <a:solidFill>
                  <a:srgbClr val="000000"/>
                </a:solidFill>
                <a:latin typeface="Calibri" panose="020F0502020204030204" pitchFamily="34" charset="0"/>
              </a:rPr>
              <a:t>Service : </a:t>
            </a:r>
            <a:r>
              <a:rPr lang="fr-FR" sz="1600" b="0" i="0" u="none" strike="noStrike" baseline="0" dirty="0">
                <a:solidFill>
                  <a:srgbClr val="000000"/>
                </a:solidFill>
                <a:latin typeface="Calibri" panose="020F0502020204030204" pitchFamily="34" charset="0"/>
              </a:rPr>
              <a:t>Les Interfaces et leurs implémentations pour les traitements métiers spécifiques à l’application.</a:t>
            </a:r>
          </a:p>
          <a:p>
            <a:r>
              <a:rPr lang="fr-FR" sz="1600" b="1" i="0" u="none" strike="noStrike" baseline="0" dirty="0" err="1">
                <a:solidFill>
                  <a:srgbClr val="000000"/>
                </a:solidFill>
                <a:latin typeface="Calibri" panose="020F0502020204030204" pitchFamily="34" charset="0"/>
              </a:rPr>
              <a:t>util</a:t>
            </a:r>
            <a:r>
              <a:rPr lang="fr-FR" sz="1600" b="1" i="0" u="none" strike="noStrike" baseline="0" dirty="0">
                <a:solidFill>
                  <a:srgbClr val="000000"/>
                </a:solidFill>
                <a:latin typeface="Calibri" panose="020F0502020204030204" pitchFamily="34" charset="0"/>
              </a:rPr>
              <a:t> : </a:t>
            </a:r>
            <a:r>
              <a:rPr lang="fr-FR" sz="1600" b="0" i="0" u="none" strike="noStrike" baseline="0" dirty="0">
                <a:solidFill>
                  <a:srgbClr val="000000"/>
                </a:solidFill>
                <a:latin typeface="Calibri" panose="020F0502020204030204" pitchFamily="34" charset="0"/>
              </a:rPr>
              <a:t>Les classes pour filtrer, classer et gérer les dates. </a:t>
            </a:r>
            <a:endParaRPr lang="fr-FR" dirty="0"/>
          </a:p>
          <a:p>
            <a:endParaRPr lang="fr-FR" dirty="0"/>
          </a:p>
        </p:txBody>
      </p:sp>
      <p:pic>
        <p:nvPicPr>
          <p:cNvPr id="4" name="Image 3">
            <a:extLst>
              <a:ext uri="{FF2B5EF4-FFF2-40B4-BE49-F238E27FC236}">
                <a16:creationId xmlns:a16="http://schemas.microsoft.com/office/drawing/2014/main" id="{A35E8215-AB3B-0295-020F-36487655A045}"/>
              </a:ext>
            </a:extLst>
          </p:cNvPr>
          <p:cNvPicPr>
            <a:picLocks noChangeAspect="1"/>
          </p:cNvPicPr>
          <p:nvPr/>
        </p:nvPicPr>
        <p:blipFill>
          <a:blip r:embed="rId2"/>
          <a:stretch>
            <a:fillRect/>
          </a:stretch>
        </p:blipFill>
        <p:spPr>
          <a:xfrm>
            <a:off x="6450731" y="1416612"/>
            <a:ext cx="3446614" cy="4726039"/>
          </a:xfrm>
          <a:prstGeom prst="rect">
            <a:avLst/>
          </a:prstGeom>
        </p:spPr>
      </p:pic>
    </p:spTree>
    <p:extLst>
      <p:ext uri="{BB962C8B-B14F-4D97-AF65-F5344CB8AC3E}">
        <p14:creationId xmlns:p14="http://schemas.microsoft.com/office/powerpoint/2010/main" val="17907060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72F12-8653-56C5-9755-34FAB776E84B}"/>
              </a:ext>
            </a:extLst>
          </p:cNvPr>
          <p:cNvSpPr>
            <a:spLocks noGrp="1"/>
          </p:cNvSpPr>
          <p:nvPr>
            <p:ph type="ctrTitle"/>
          </p:nvPr>
        </p:nvSpPr>
        <p:spPr/>
        <p:txBody>
          <a:bodyPr/>
          <a:lstStyle/>
          <a:p>
            <a:r>
              <a:rPr lang="fr-FR" dirty="0"/>
              <a:t>Front Back-Office</a:t>
            </a:r>
          </a:p>
        </p:txBody>
      </p:sp>
      <p:sp>
        <p:nvSpPr>
          <p:cNvPr id="3" name="Espace réservé du texte 2">
            <a:extLst>
              <a:ext uri="{FF2B5EF4-FFF2-40B4-BE49-F238E27FC236}">
                <a16:creationId xmlns:a16="http://schemas.microsoft.com/office/drawing/2014/main" id="{5AFA7C2F-43E5-6FBA-A22D-C2EE384A4DFA}"/>
              </a:ext>
            </a:extLst>
          </p:cNvPr>
          <p:cNvSpPr>
            <a:spLocks noGrp="1"/>
          </p:cNvSpPr>
          <p:nvPr>
            <p:ph type="body" sz="quarter" idx="14"/>
          </p:nvPr>
        </p:nvSpPr>
        <p:spPr>
          <a:xfrm>
            <a:off x="549473" y="1360824"/>
            <a:ext cx="8694148" cy="5280150"/>
          </a:xfrm>
        </p:spPr>
        <p:txBody>
          <a:bodyPr/>
          <a:lstStyle/>
          <a:p>
            <a:r>
              <a:rPr lang="fr-FR" sz="1800" dirty="0">
                <a:solidFill>
                  <a:srgbClr val="000000"/>
                </a:solidFill>
                <a:latin typeface="Calibri" panose="020F0502020204030204" pitchFamily="34" charset="0"/>
              </a:rPr>
              <a:t>R</a:t>
            </a:r>
            <a:r>
              <a:rPr lang="fr-FR" sz="1800" b="0" i="0" u="none" strike="noStrike" baseline="0" dirty="0">
                <a:solidFill>
                  <a:srgbClr val="000000"/>
                </a:solidFill>
                <a:latin typeface="Calibri" panose="020F0502020204030204" pitchFamily="34" charset="0"/>
              </a:rPr>
              <a:t>éalisé avec </a:t>
            </a:r>
            <a:r>
              <a:rPr lang="fr-FR" sz="1800" b="1" i="0" u="none" strike="noStrike" baseline="0" dirty="0">
                <a:solidFill>
                  <a:srgbClr val="000000"/>
                </a:solidFill>
                <a:latin typeface="Calibri" panose="020F0502020204030204" pitchFamily="34" charset="0"/>
              </a:rPr>
              <a:t>ANGULAR </a:t>
            </a:r>
            <a:r>
              <a:rPr lang="fr-FR" sz="1800" b="0" i="0" u="none" strike="noStrike" baseline="0" dirty="0">
                <a:solidFill>
                  <a:srgbClr val="000000"/>
                </a:solidFill>
                <a:latin typeface="Calibri" panose="020F0502020204030204" pitchFamily="34" charset="0"/>
              </a:rPr>
              <a:t>qui est un framework permettant de créer des </a:t>
            </a:r>
            <a:r>
              <a:rPr lang="fr-FR" sz="1800" b="1" i="0" u="none" strike="noStrike" baseline="0" dirty="0">
                <a:solidFill>
                  <a:srgbClr val="000000"/>
                </a:solidFill>
                <a:latin typeface="Calibri" panose="020F0502020204030204" pitchFamily="34" charset="0"/>
              </a:rPr>
              <a:t>SPA </a:t>
            </a:r>
            <a:r>
              <a:rPr lang="fr-FR" sz="1800" b="0" i="0" u="none" strike="noStrike" baseline="0" dirty="0">
                <a:solidFill>
                  <a:srgbClr val="000000"/>
                </a:solidFill>
                <a:latin typeface="Calibri" panose="020F0502020204030204" pitchFamily="34" charset="0"/>
              </a:rPr>
              <a:t>(Single page Application) en utilisant du </a:t>
            </a:r>
            <a:r>
              <a:rPr lang="fr-FR" sz="1800" b="1" i="0" u="none" strike="noStrike" baseline="0" dirty="0">
                <a:solidFill>
                  <a:srgbClr val="000000"/>
                </a:solidFill>
                <a:latin typeface="Calibri" panose="020F0502020204030204" pitchFamily="34" charset="0"/>
              </a:rPr>
              <a:t>HTML </a:t>
            </a:r>
            <a:r>
              <a:rPr lang="fr-FR" sz="1800" b="0" i="0" u="none" strike="noStrike" baseline="0" dirty="0">
                <a:solidFill>
                  <a:srgbClr val="000000"/>
                </a:solidFill>
                <a:latin typeface="Calibri" panose="020F0502020204030204" pitchFamily="34" charset="0"/>
              </a:rPr>
              <a:t>et du </a:t>
            </a:r>
            <a:r>
              <a:rPr lang="fr-FR" sz="1800" b="1" i="0" u="none" strike="noStrike" baseline="0" dirty="0">
                <a:solidFill>
                  <a:srgbClr val="000000"/>
                </a:solidFill>
                <a:latin typeface="Calibri" panose="020F0502020204030204" pitchFamily="34" charset="0"/>
              </a:rPr>
              <a:t>TypeScript</a:t>
            </a:r>
            <a:r>
              <a:rPr lang="fr-FR" sz="1800" b="0" i="0" u="none" strike="noStrike" baseline="0" dirty="0">
                <a:solidFill>
                  <a:srgbClr val="000000"/>
                </a:solidFill>
                <a:latin typeface="Calibri" panose="020F0502020204030204" pitchFamily="34" charset="0"/>
              </a:rPr>
              <a:t>. </a:t>
            </a:r>
          </a:p>
          <a:p>
            <a:r>
              <a:rPr lang="fr-FR" sz="1800" u="sng" dirty="0">
                <a:solidFill>
                  <a:srgbClr val="000000"/>
                </a:solidFill>
                <a:latin typeface="Calibri" panose="020F0502020204030204" pitchFamily="34" charset="0"/>
              </a:rPr>
              <a:t>C</a:t>
            </a:r>
            <a:r>
              <a:rPr lang="fr-FR" sz="1800" b="0" i="0" u="sng" strike="noStrike" baseline="0" dirty="0">
                <a:solidFill>
                  <a:srgbClr val="000000"/>
                </a:solidFill>
                <a:latin typeface="Calibri" panose="020F0502020204030204" pitchFamily="34" charset="0"/>
              </a:rPr>
              <a:t>oncepts fondamentaux de l'architecture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a:t>
            </a:r>
            <a:r>
              <a:rPr lang="fr-FR" sz="1800" b="0" i="0" u="none" strike="noStrike" baseline="0" dirty="0">
                <a:solidFill>
                  <a:srgbClr val="000000"/>
                </a:solidFill>
                <a:latin typeface="Calibri" panose="020F0502020204030204" pitchFamily="34" charset="0"/>
              </a:rPr>
              <a:t> organisés de manière fonctionnelle en </a:t>
            </a:r>
            <a:r>
              <a:rPr lang="fr-FR" sz="1800" b="1" i="0" u="none" strike="noStrike" baseline="0" dirty="0" err="1">
                <a:solidFill>
                  <a:srgbClr val="000000"/>
                </a:solidFill>
                <a:latin typeface="Calibri" panose="020F0502020204030204" pitchFamily="34" charset="0"/>
              </a:rPr>
              <a:t>NgModules</a:t>
            </a:r>
            <a:r>
              <a:rPr lang="fr-FR"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définissent des </a:t>
            </a:r>
            <a:r>
              <a:rPr lang="fr-FR" sz="1800" b="1" i="0" u="none" strike="noStrike" baseline="0" dirty="0">
                <a:solidFill>
                  <a:srgbClr val="000000"/>
                </a:solidFill>
                <a:latin typeface="Calibri" panose="020F0502020204030204" pitchFamily="34" charset="0"/>
              </a:rPr>
              <a:t>vues</a:t>
            </a:r>
            <a:r>
              <a:rPr lang="fr-FR" sz="1800" b="0" i="0" u="none" strike="noStrike" baseline="0" dirty="0">
                <a:solidFill>
                  <a:srgbClr val="000000"/>
                </a:solidFill>
                <a:latin typeface="Calibri" panose="020F0502020204030204" pitchFamily="34" charset="0"/>
              </a:rPr>
              <a:t>, utilisent des </a:t>
            </a:r>
            <a:r>
              <a:rPr lang="fr-FR" sz="1800" b="1" i="0" u="none" strike="noStrike" baseline="0" dirty="0">
                <a:solidFill>
                  <a:srgbClr val="000000"/>
                </a:solidFill>
                <a:latin typeface="Calibri" panose="020F0502020204030204" pitchFamily="34" charset="0"/>
              </a:rPr>
              <a:t>service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fonctionnalités spécifiqu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fournisseurs de services (</a:t>
            </a:r>
            <a:r>
              <a:rPr lang="fr-FR" sz="1800" b="1" i="0" u="none" strike="noStrike" baseline="0" dirty="0">
                <a:solidFill>
                  <a:srgbClr val="000000"/>
                </a:solidFill>
                <a:latin typeface="Calibri" panose="020F0502020204030204" pitchFamily="34" charset="0"/>
              </a:rPr>
              <a:t>provider</a:t>
            </a:r>
            <a:r>
              <a:rPr lang="fr-FR" sz="1800" b="0" i="0" u="none" strike="noStrike" baseline="0" dirty="0">
                <a:solidFill>
                  <a:srgbClr val="000000"/>
                </a:solidFill>
                <a:latin typeface="Calibri" panose="020F0502020204030204" pitchFamily="34" charset="0"/>
              </a:rPr>
              <a:t>) peuvent être injectés dans les composants en tant que dépendances</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a:t>
            </a:r>
            <a:r>
              <a:rPr lang="fr-FR" sz="1800" b="1" i="0" u="none" strike="noStrike" baseline="0" dirty="0">
                <a:solidFill>
                  <a:srgbClr val="000000"/>
                </a:solidFill>
                <a:latin typeface="Calibri" panose="020F0502020204030204" pitchFamily="34" charset="0"/>
              </a:rPr>
              <a:t>modules</a:t>
            </a:r>
            <a:r>
              <a:rPr lang="fr-FR" sz="1800" b="0" i="0" u="none" strike="noStrike" baseline="0" dirty="0">
                <a:solidFill>
                  <a:srgbClr val="000000"/>
                </a:solidFill>
                <a:latin typeface="Calibri" panose="020F0502020204030204" pitchFamily="34" charset="0"/>
              </a:rPr>
              <a:t>, </a:t>
            </a:r>
            <a:r>
              <a:rPr lang="fr-FR" sz="1800" b="1" i="0" u="none" strike="noStrike" baseline="0" dirty="0">
                <a:solidFill>
                  <a:srgbClr val="000000"/>
                </a:solidFill>
                <a:latin typeface="Calibri" panose="020F0502020204030204" pitchFamily="34" charset="0"/>
              </a:rPr>
              <a:t>composants </a:t>
            </a:r>
            <a:r>
              <a:rPr lang="fr-FR" sz="1800" b="0" i="0" u="none" strike="noStrike" baseline="0" dirty="0">
                <a:solidFill>
                  <a:srgbClr val="000000"/>
                </a:solidFill>
                <a:latin typeface="Calibri" panose="020F0502020204030204" pitchFamily="34" charset="0"/>
              </a:rPr>
              <a:t>et </a:t>
            </a:r>
            <a:r>
              <a:rPr lang="fr-FR" sz="1800" b="1" i="0" u="none" strike="noStrike" baseline="0" dirty="0">
                <a:solidFill>
                  <a:srgbClr val="000000"/>
                </a:solidFill>
                <a:latin typeface="Calibri" panose="020F0502020204030204" pitchFamily="34" charset="0"/>
              </a:rPr>
              <a:t>services </a:t>
            </a:r>
            <a:r>
              <a:rPr lang="fr-FR" sz="1800" b="0" i="0" u="none" strike="noStrike" baseline="0" dirty="0">
                <a:solidFill>
                  <a:srgbClr val="000000"/>
                </a:solidFill>
                <a:latin typeface="Calibri" panose="020F0502020204030204" pitchFamily="34" charset="0"/>
              </a:rPr>
              <a:t>sont des classes qui utilisent des </a:t>
            </a:r>
            <a:r>
              <a:rPr lang="fr-FR" sz="1800" b="1" i="0" u="none" strike="noStrike" baseline="0" dirty="0">
                <a:solidFill>
                  <a:srgbClr val="000000"/>
                </a:solidFill>
                <a:latin typeface="Calibri" panose="020F0502020204030204" pitchFamily="34" charset="0"/>
              </a:rPr>
              <a:t>décorateur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type et métadonnées qui indiquent à Angular comment les utiliser)</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métadonnées d'une classe de composant l'associent à un </a:t>
            </a:r>
            <a:r>
              <a:rPr lang="fr-FR" sz="1800" b="1" i="0" u="none" strike="noStrike" baseline="0" dirty="0">
                <a:solidFill>
                  <a:srgbClr val="000000"/>
                </a:solidFill>
                <a:latin typeface="Calibri" panose="020F0502020204030204" pitchFamily="34" charset="0"/>
              </a:rPr>
              <a:t>modèle </a:t>
            </a:r>
            <a:r>
              <a:rPr lang="fr-FR" sz="1800" b="0" i="0" u="none" strike="noStrike" baseline="0" dirty="0">
                <a:solidFill>
                  <a:srgbClr val="000000"/>
                </a:solidFill>
                <a:latin typeface="Calibri" panose="020F0502020204030204" pitchFamily="34" charset="0"/>
              </a:rPr>
              <a:t>qui définit une vue.</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Un modèle combine du HTML ordinaire avec des </a:t>
            </a:r>
            <a:r>
              <a:rPr lang="fr-FR" sz="1800" b="1" i="0" u="none" strike="noStrike" baseline="0" dirty="0">
                <a:solidFill>
                  <a:srgbClr val="000000"/>
                </a:solidFill>
                <a:latin typeface="Calibri" panose="020F0502020204030204" pitchFamily="34" charset="0"/>
              </a:rPr>
              <a:t>directives </a:t>
            </a:r>
            <a:r>
              <a:rPr lang="fr-FR" sz="1800" b="0" i="0" u="none" strike="noStrike" baseline="0" dirty="0">
                <a:solidFill>
                  <a:srgbClr val="000000"/>
                </a:solidFill>
                <a:latin typeface="Calibri" panose="020F0502020204030204" pitchFamily="34" charset="0"/>
              </a:rPr>
              <a:t>Angular </a:t>
            </a:r>
          </a:p>
          <a:p>
            <a:pPr marL="285750" indent="-285750">
              <a:buFont typeface="Arial" panose="020B0604020202020204" pitchFamily="34" charset="0"/>
              <a:buChar char="•"/>
            </a:pPr>
            <a:r>
              <a:rPr lang="fr-FR" sz="1800" b="0" i="0" u="none" strike="noStrike" baseline="0" dirty="0">
                <a:solidFill>
                  <a:srgbClr val="000000"/>
                </a:solidFill>
                <a:latin typeface="Calibri" panose="020F0502020204030204" pitchFamily="34" charset="0"/>
              </a:rPr>
              <a:t>Les services sont à la disposition des composants par le biais de </a:t>
            </a:r>
            <a:r>
              <a:rPr lang="fr-FR" sz="1800" b="1" i="0" u="none" strike="noStrike" baseline="0" dirty="0">
                <a:solidFill>
                  <a:srgbClr val="000000"/>
                </a:solidFill>
                <a:latin typeface="Calibri" panose="020F0502020204030204" pitchFamily="34" charset="0"/>
              </a:rPr>
              <a:t>l'injection de dépendances </a:t>
            </a:r>
          </a:p>
          <a:p>
            <a:pPr marL="285750" indent="-285750">
              <a:buFont typeface="Arial" panose="020B0604020202020204" pitchFamily="34" charset="0"/>
              <a:buChar char="•"/>
            </a:pPr>
            <a:r>
              <a:rPr lang="fr-FR" sz="1800" dirty="0">
                <a:solidFill>
                  <a:srgbClr val="000000"/>
                </a:solidFill>
                <a:latin typeface="Calibri" panose="020F0502020204030204" pitchFamily="34" charset="0"/>
              </a:rPr>
              <a:t>S</a:t>
            </a:r>
            <a:r>
              <a:rPr lang="fr-FR" sz="1800" b="0" i="0" u="none" strike="noStrike" baseline="0" dirty="0">
                <a:solidFill>
                  <a:srgbClr val="000000"/>
                </a:solidFill>
                <a:latin typeface="Calibri" panose="020F0502020204030204" pitchFamily="34" charset="0"/>
              </a:rPr>
              <a:t>ervice </a:t>
            </a:r>
            <a:r>
              <a:rPr lang="fr-FR" sz="1800" b="1" i="0" u="none" strike="noStrike" baseline="0" dirty="0">
                <a:solidFill>
                  <a:srgbClr val="000000"/>
                </a:solidFill>
                <a:latin typeface="Calibri" panose="020F0502020204030204" pitchFamily="34" charset="0"/>
              </a:rPr>
              <a:t>Router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définir des chemins de navigation entre les vues. </a:t>
            </a:r>
            <a:endParaRPr lang="fr-FR" dirty="0"/>
          </a:p>
        </p:txBody>
      </p:sp>
    </p:spTree>
    <p:extLst>
      <p:ext uri="{BB962C8B-B14F-4D97-AF65-F5344CB8AC3E}">
        <p14:creationId xmlns:p14="http://schemas.microsoft.com/office/powerpoint/2010/main" val="3145967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599DA8-C82C-A7AC-70BC-C751EC9B9714}"/>
              </a:ext>
            </a:extLst>
          </p:cNvPr>
          <p:cNvSpPr>
            <a:spLocks noGrp="1"/>
          </p:cNvSpPr>
          <p:nvPr>
            <p:ph type="ctrTitle"/>
          </p:nvPr>
        </p:nvSpPr>
        <p:spPr/>
        <p:txBody>
          <a:bodyPr/>
          <a:lstStyle/>
          <a:p>
            <a:r>
              <a:rPr lang="fr-FR" dirty="0"/>
              <a:t>Schéma fonctionnement</a:t>
            </a:r>
          </a:p>
        </p:txBody>
      </p:sp>
      <p:pic>
        <p:nvPicPr>
          <p:cNvPr id="5" name="Image 4">
            <a:extLst>
              <a:ext uri="{FF2B5EF4-FFF2-40B4-BE49-F238E27FC236}">
                <a16:creationId xmlns:a16="http://schemas.microsoft.com/office/drawing/2014/main" id="{1A4ADF50-FC87-2926-CAEE-23ADBA1DA8AF}"/>
              </a:ext>
            </a:extLst>
          </p:cNvPr>
          <p:cNvPicPr>
            <a:picLocks noChangeAspect="1"/>
          </p:cNvPicPr>
          <p:nvPr/>
        </p:nvPicPr>
        <p:blipFill>
          <a:blip r:embed="rId2"/>
          <a:stretch>
            <a:fillRect/>
          </a:stretch>
        </p:blipFill>
        <p:spPr>
          <a:xfrm>
            <a:off x="181173" y="1289672"/>
            <a:ext cx="9134278" cy="4823626"/>
          </a:xfrm>
          <a:prstGeom prst="rect">
            <a:avLst/>
          </a:prstGeom>
        </p:spPr>
      </p:pic>
    </p:spTree>
    <p:extLst>
      <p:ext uri="{BB962C8B-B14F-4D97-AF65-F5344CB8AC3E}">
        <p14:creationId xmlns:p14="http://schemas.microsoft.com/office/powerpoint/2010/main" val="12335500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888588-DF9E-ECCD-0D1B-B2B74AF25DFD}"/>
              </a:ext>
            </a:extLst>
          </p:cNvPr>
          <p:cNvSpPr>
            <a:spLocks noGrp="1"/>
          </p:cNvSpPr>
          <p:nvPr>
            <p:ph type="ctrTitle"/>
          </p:nvPr>
        </p:nvSpPr>
        <p:spPr/>
        <p:txBody>
          <a:bodyPr/>
          <a:lstStyle/>
          <a:p>
            <a:r>
              <a:rPr lang="fr-FR" dirty="0"/>
              <a:t>Schéma fonctionnement</a:t>
            </a:r>
          </a:p>
        </p:txBody>
      </p:sp>
      <p:sp>
        <p:nvSpPr>
          <p:cNvPr id="3" name="Espace réservé du texte 2">
            <a:extLst>
              <a:ext uri="{FF2B5EF4-FFF2-40B4-BE49-F238E27FC236}">
                <a16:creationId xmlns:a16="http://schemas.microsoft.com/office/drawing/2014/main" id="{CA7F3DCA-CB0F-2A81-C724-E6A724200308}"/>
              </a:ext>
            </a:extLst>
          </p:cNvPr>
          <p:cNvSpPr>
            <a:spLocks noGrp="1"/>
          </p:cNvSpPr>
          <p:nvPr>
            <p:ph type="body" sz="quarter" idx="14"/>
          </p:nvPr>
        </p:nvSpPr>
        <p:spPr>
          <a:xfrm>
            <a:off x="415426" y="1525431"/>
            <a:ext cx="8694148" cy="1005134"/>
          </a:xfrm>
        </p:spPr>
        <p:txBody>
          <a:bodyPr/>
          <a:lstStyle/>
          <a:p>
            <a:r>
              <a:rPr lang="fr-FR" sz="1800" b="0" i="0" u="none" strike="noStrike" baseline="0" dirty="0">
                <a:solidFill>
                  <a:srgbClr val="000000"/>
                </a:solidFill>
                <a:latin typeface="Calibri" panose="020F0502020204030204" pitchFamily="34" charset="0"/>
              </a:rPr>
              <a:t>L’architecture est simplement un </a:t>
            </a:r>
            <a:r>
              <a:rPr lang="fr-FR" sz="1800" b="1" i="0" u="none" strike="noStrike" baseline="0" dirty="0">
                <a:solidFill>
                  <a:srgbClr val="000000"/>
                </a:solidFill>
                <a:latin typeface="Calibri" panose="020F0502020204030204" pitchFamily="34" charset="0"/>
              </a:rPr>
              <a:t>arbre hiérarchique de composants</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réutilisables et indépendants.  Ils interagissent avec des services, qui servent à gérer la logique non-graphique de l’application, et forment ainsi un pattern </a:t>
            </a:r>
            <a:r>
              <a:rPr lang="fr-FR" sz="1800" b="1" i="0" u="none" strike="noStrike" baseline="0" dirty="0">
                <a:solidFill>
                  <a:srgbClr val="000000"/>
                </a:solidFill>
                <a:latin typeface="Calibri" panose="020F0502020204030204" pitchFamily="34" charset="0"/>
              </a:rPr>
              <a:t>MVVM </a:t>
            </a:r>
            <a:r>
              <a:rPr lang="fr-FR" sz="1800" b="0" i="0" u="none" strike="noStrike" baseline="0" dirty="0">
                <a:solidFill>
                  <a:srgbClr val="000000"/>
                </a:solidFill>
                <a:latin typeface="Calibri" panose="020F0502020204030204" pitchFamily="34" charset="0"/>
              </a:rPr>
              <a:t>(Model -</a:t>
            </a:r>
            <a:r>
              <a:rPr lang="fr-FR" sz="1800" b="0" i="0" u="none" strike="noStrike" baseline="0" dirty="0" err="1">
                <a:solidFill>
                  <a:srgbClr val="000000"/>
                </a:solidFill>
                <a:latin typeface="Calibri" panose="020F0502020204030204" pitchFamily="34" charset="0"/>
              </a:rPr>
              <a:t>View</a:t>
            </a:r>
            <a:r>
              <a:rPr lang="fr-FR" sz="1800" b="0" i="0" u="none" strike="noStrike" baseline="0" dirty="0">
                <a:solidFill>
                  <a:srgbClr val="000000"/>
                </a:solidFill>
                <a:latin typeface="Calibri" panose="020F0502020204030204" pitchFamily="34" charset="0"/>
              </a:rPr>
              <a:t> - </a:t>
            </a:r>
            <a:r>
              <a:rPr lang="fr-FR" sz="1800" b="0" i="0" u="none" strike="noStrike" baseline="0" dirty="0" err="1">
                <a:solidFill>
                  <a:srgbClr val="000000"/>
                </a:solidFill>
                <a:latin typeface="Calibri" panose="020F0502020204030204" pitchFamily="34" charset="0"/>
              </a:rPr>
              <a:t>ViewModel</a:t>
            </a:r>
            <a:r>
              <a:rPr lang="fr-FR" sz="1800" b="0" i="0" u="none" strike="noStrike" baseline="0" dirty="0">
                <a:solidFill>
                  <a:srgbClr val="000000"/>
                </a:solidFill>
                <a:latin typeface="Calibri" panose="020F0502020204030204" pitchFamily="34" charset="0"/>
              </a:rPr>
              <a:t>) </a:t>
            </a:r>
            <a:endParaRPr lang="fr-FR" dirty="0"/>
          </a:p>
        </p:txBody>
      </p:sp>
      <p:pic>
        <p:nvPicPr>
          <p:cNvPr id="5" name="Image 4">
            <a:extLst>
              <a:ext uri="{FF2B5EF4-FFF2-40B4-BE49-F238E27FC236}">
                <a16:creationId xmlns:a16="http://schemas.microsoft.com/office/drawing/2014/main" id="{5F235111-318C-A5D6-2F87-9DEB9256297F}"/>
              </a:ext>
            </a:extLst>
          </p:cNvPr>
          <p:cNvPicPr>
            <a:picLocks noChangeAspect="1"/>
          </p:cNvPicPr>
          <p:nvPr/>
        </p:nvPicPr>
        <p:blipFill>
          <a:blip r:embed="rId2"/>
          <a:stretch>
            <a:fillRect/>
          </a:stretch>
        </p:blipFill>
        <p:spPr>
          <a:xfrm>
            <a:off x="228600" y="3226478"/>
            <a:ext cx="9067800" cy="2544718"/>
          </a:xfrm>
          <a:prstGeom prst="rect">
            <a:avLst/>
          </a:prstGeom>
        </p:spPr>
      </p:pic>
    </p:spTree>
    <p:extLst>
      <p:ext uri="{BB962C8B-B14F-4D97-AF65-F5344CB8AC3E}">
        <p14:creationId xmlns:p14="http://schemas.microsoft.com/office/powerpoint/2010/main" val="31764279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10C163-D2D7-0FC8-049F-9AF16663CE52}"/>
              </a:ext>
            </a:extLst>
          </p:cNvPr>
          <p:cNvSpPr>
            <a:spLocks noGrp="1"/>
          </p:cNvSpPr>
          <p:nvPr>
            <p:ph type="ctrTitle"/>
          </p:nvPr>
        </p:nvSpPr>
        <p:spPr/>
        <p:txBody>
          <a:bodyPr/>
          <a:lstStyle/>
          <a:p>
            <a:r>
              <a:rPr lang="fr-FR" dirty="0"/>
              <a:t>Architecture en dossiers</a:t>
            </a:r>
          </a:p>
        </p:txBody>
      </p:sp>
      <p:sp>
        <p:nvSpPr>
          <p:cNvPr id="3" name="Espace réservé du texte 2">
            <a:extLst>
              <a:ext uri="{FF2B5EF4-FFF2-40B4-BE49-F238E27FC236}">
                <a16:creationId xmlns:a16="http://schemas.microsoft.com/office/drawing/2014/main" id="{FF5BACC6-438D-5EA0-7A95-C291F581034C}"/>
              </a:ext>
            </a:extLst>
          </p:cNvPr>
          <p:cNvSpPr>
            <a:spLocks noGrp="1"/>
          </p:cNvSpPr>
          <p:nvPr>
            <p:ph type="body" sz="quarter" idx="14"/>
          </p:nvPr>
        </p:nvSpPr>
        <p:spPr>
          <a:xfrm>
            <a:off x="549473" y="1428750"/>
            <a:ext cx="6981627" cy="5180315"/>
          </a:xfrm>
        </p:spPr>
        <p:txBody>
          <a:bodyPr/>
          <a:lstStyle/>
          <a:p>
            <a:r>
              <a:rPr lang="fr-FR" sz="1800" b="1" i="0" u="none" strike="noStrike" baseline="0" dirty="0">
                <a:solidFill>
                  <a:srgbClr val="000000"/>
                </a:solidFill>
                <a:latin typeface="Calibri" panose="020F0502020204030204" pitchFamily="34" charset="0"/>
              </a:rPr>
              <a:t>app-auth.module.ts </a:t>
            </a:r>
            <a:r>
              <a:rPr lang="fr-FR" sz="180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authentification unique avec Keycloack</a:t>
            </a:r>
            <a:r>
              <a:rPr lang="fr-FR" sz="1800" b="1" i="0" u="none" strike="noStrike" baseline="0" dirty="0">
                <a:solidFill>
                  <a:srgbClr val="000000"/>
                </a:solidFill>
                <a:latin typeface="Calibri" panose="020F0502020204030204" pitchFamily="34" charset="0"/>
              </a:rPr>
              <a:t> JWT </a:t>
            </a:r>
            <a:r>
              <a:rPr lang="fr-FR" sz="1800" b="0" i="0" u="none" strike="noStrike" baseline="0" dirty="0">
                <a:solidFill>
                  <a:srgbClr val="000000"/>
                </a:solidFill>
                <a:latin typeface="Calibri" panose="020F0502020204030204" pitchFamily="34" charset="0"/>
              </a:rPr>
              <a:t>(</a:t>
            </a:r>
            <a:r>
              <a:rPr lang="fr-FR" sz="1800" b="0" i="0" u="none" strike="noStrike" baseline="0" dirty="0" err="1">
                <a:solidFill>
                  <a:srgbClr val="000000"/>
                </a:solidFill>
                <a:latin typeface="Calibri" panose="020F0502020204030204" pitchFamily="34" charset="0"/>
              </a:rPr>
              <a:t>Json</a:t>
            </a:r>
            <a:r>
              <a:rPr lang="fr-FR" sz="1800" b="0" i="0" u="none" strike="noStrike" baseline="0" dirty="0">
                <a:solidFill>
                  <a:srgbClr val="000000"/>
                </a:solidFill>
                <a:latin typeface="Calibri" panose="020F0502020204030204" pitchFamily="34" charset="0"/>
              </a:rPr>
              <a:t> WEB Token). </a:t>
            </a:r>
          </a:p>
          <a:p>
            <a:r>
              <a:rPr lang="fr-FR" sz="1800" b="1" i="0" u="none" strike="noStrike" baseline="0" dirty="0">
                <a:solidFill>
                  <a:srgbClr val="000000"/>
                </a:solidFill>
                <a:latin typeface="Calibri" panose="020F0502020204030204" pitchFamily="34" charset="0"/>
              </a:rPr>
              <a:t>app-</a:t>
            </a:r>
            <a:r>
              <a:rPr lang="fr-FR" sz="1800" b="1" i="0" u="none" strike="noStrike" baseline="0" dirty="0" err="1">
                <a:solidFill>
                  <a:srgbClr val="000000"/>
                </a:solidFill>
                <a:latin typeface="Calibri" panose="020F0502020204030204" pitchFamily="34" charset="0"/>
              </a:rPr>
              <a:t>routing.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navigation entre les composants</a:t>
            </a:r>
          </a:p>
          <a:p>
            <a:r>
              <a:rPr lang="fr-FR" sz="1800" b="1" i="0" u="none" strike="noStrike" baseline="0" dirty="0">
                <a:solidFill>
                  <a:srgbClr val="000000"/>
                </a:solidFill>
                <a:latin typeface="Calibri" panose="020F0502020204030204" pitchFamily="34" charset="0"/>
              </a:rPr>
              <a:t>app.component.* </a:t>
            </a:r>
            <a:r>
              <a:rPr lang="fr-FR" sz="1800" b="0" i="0" u="none" strike="noStrike" baseline="0" dirty="0">
                <a:solidFill>
                  <a:srgbClr val="000000"/>
                </a:solidFill>
                <a:latin typeface="Calibri" panose="020F0502020204030204" pitchFamily="34" charset="0"/>
              </a:rPr>
              <a:t>composants racine avec html, </a:t>
            </a:r>
            <a:r>
              <a:rPr lang="fr-FR" sz="1800" b="0" i="0" u="none" strike="noStrike" baseline="0" dirty="0" err="1">
                <a:solidFill>
                  <a:srgbClr val="000000"/>
                </a:solidFill>
                <a:latin typeface="Calibri" panose="020F0502020204030204" pitchFamily="34" charset="0"/>
              </a:rPr>
              <a:t>css</a:t>
            </a:r>
            <a:r>
              <a:rPr lang="fr-FR" sz="1800" b="0" i="0" u="none" strike="noStrike" baseline="0" dirty="0">
                <a:solidFill>
                  <a:srgbClr val="000000"/>
                </a:solidFill>
                <a:latin typeface="Calibri" panose="020F0502020204030204" pitchFamily="34" charset="0"/>
              </a:rPr>
              <a:t> et TS. </a:t>
            </a:r>
          </a:p>
          <a:p>
            <a:r>
              <a:rPr lang="fr-FR" sz="1800" b="1" i="0" u="none" strike="noStrike" baseline="0" dirty="0" err="1">
                <a:solidFill>
                  <a:srgbClr val="000000"/>
                </a:solidFill>
                <a:latin typeface="Calibri" panose="020F0502020204030204" pitchFamily="34" charset="0"/>
              </a:rPr>
              <a:t>app.module.ts</a:t>
            </a:r>
            <a:r>
              <a:rPr lang="fr-FR" sz="1800" b="1" i="0" u="none" strike="noStrike" baseline="0" dirty="0">
                <a:solidFill>
                  <a:srgbClr val="000000"/>
                </a:solidFill>
                <a:latin typeface="Calibri" panose="020F0502020204030204" pitchFamily="34" charset="0"/>
              </a:rPr>
              <a:t> </a:t>
            </a:r>
            <a:r>
              <a:rPr lang="fr-FR" sz="1800" b="0" i="0" u="none" strike="noStrike" baseline="0" dirty="0">
                <a:solidFill>
                  <a:srgbClr val="000000"/>
                </a:solidFill>
                <a:latin typeface="Calibri" panose="020F0502020204030204" pitchFamily="34" charset="0"/>
              </a:rPr>
              <a:t>: décrit la façon dont les parties de l’application s’assemblent (composants, services , modules)</a:t>
            </a:r>
          </a:p>
          <a:p>
            <a:r>
              <a:rPr lang="fr-FR" sz="1800" b="1" i="0" u="none" strike="noStrike" baseline="0" dirty="0">
                <a:solidFill>
                  <a:srgbClr val="000000"/>
                </a:solidFill>
                <a:latin typeface="Calibri" panose="020F0502020204030204" pitchFamily="34" charset="0"/>
              </a:rPr>
              <a:t>Dossier components : </a:t>
            </a:r>
            <a:r>
              <a:rPr lang="fr-FR" sz="1800" b="0" i="0" u="none" strike="noStrike" baseline="0" dirty="0">
                <a:solidFill>
                  <a:srgbClr val="000000"/>
                </a:solidFill>
                <a:latin typeface="Calibri" panose="020F0502020204030204" pitchFamily="34" charset="0"/>
              </a:rPr>
              <a:t>Rassemble tous les composants réutilisables Angular. </a:t>
            </a:r>
          </a:p>
          <a:p>
            <a:r>
              <a:rPr lang="fr-FR" sz="1800" b="1" i="0" u="none" strike="noStrike" baseline="0" dirty="0">
                <a:solidFill>
                  <a:srgbClr val="000000"/>
                </a:solidFill>
                <a:latin typeface="Calibri" panose="020F0502020204030204" pitchFamily="34" charset="0"/>
              </a:rPr>
              <a:t>Dossier constant : </a:t>
            </a:r>
            <a:r>
              <a:rPr lang="fr-FR" sz="1800" b="0" i="0" u="none" strike="noStrike" baseline="0" dirty="0">
                <a:solidFill>
                  <a:srgbClr val="000000"/>
                </a:solidFill>
                <a:latin typeface="Calibri" panose="020F0502020204030204" pitchFamily="34" charset="0"/>
              </a:rPr>
              <a:t>index.ts </a:t>
            </a:r>
            <a:r>
              <a:rPr lang="fr-FR" sz="1800" b="0" i="0" u="none" strike="noStrike" baseline="0" dirty="0" err="1">
                <a:solidFill>
                  <a:srgbClr val="000000"/>
                </a:solidFill>
                <a:latin typeface="Calibri" panose="020F0502020204030204" pitchFamily="34" charset="0"/>
              </a:rPr>
              <a:t>définisant</a:t>
            </a:r>
            <a:r>
              <a:rPr lang="fr-FR" sz="1800" b="0" i="0" u="none" strike="noStrike" baseline="0" dirty="0">
                <a:solidFill>
                  <a:srgbClr val="000000"/>
                </a:solidFill>
                <a:latin typeface="Calibri" panose="020F0502020204030204" pitchFamily="34" charset="0"/>
              </a:rPr>
              <a:t> les constantes</a:t>
            </a:r>
          </a:p>
          <a:p>
            <a:r>
              <a:rPr lang="fr-FR" sz="1800" b="1" i="0" u="none" strike="noStrike" baseline="0" dirty="0">
                <a:solidFill>
                  <a:srgbClr val="000000"/>
                </a:solidFill>
                <a:latin typeface="Calibri" panose="020F0502020204030204" pitchFamily="34" charset="0"/>
              </a:rPr>
              <a:t>Dossier directive : </a:t>
            </a:r>
            <a:r>
              <a:rPr lang="fr-FR" sz="1800" dirty="0">
                <a:solidFill>
                  <a:srgbClr val="000000"/>
                </a:solidFill>
                <a:latin typeface="Calibri" panose="020F0502020204030204" pitchFamily="34" charset="0"/>
              </a:rPr>
              <a:t>D</a:t>
            </a:r>
            <a:r>
              <a:rPr lang="fr-FR" sz="1800" b="0" i="0" u="none" strike="noStrike" baseline="0" dirty="0">
                <a:solidFill>
                  <a:srgbClr val="000000"/>
                </a:solidFill>
                <a:latin typeface="Calibri" panose="020F0502020204030204" pitchFamily="34" charset="0"/>
              </a:rPr>
              <a:t>irective Angular avec comportement personnalisé aux éléments du DOM ( ex : numéros de téléphone)</a:t>
            </a:r>
          </a:p>
          <a:p>
            <a:r>
              <a:rPr lang="fr-FR" sz="1800" b="1" i="0" u="none" strike="noStrike" baseline="0" dirty="0">
                <a:solidFill>
                  <a:srgbClr val="000000"/>
                </a:solidFill>
                <a:latin typeface="Calibri" panose="020F0502020204030204" pitchFamily="34" charset="0"/>
              </a:rPr>
              <a:t>Dossier guards : </a:t>
            </a:r>
            <a:r>
              <a:rPr lang="fr-FR" sz="1800" dirty="0">
                <a:solidFill>
                  <a:srgbClr val="000000"/>
                </a:solidFill>
                <a:latin typeface="Calibri" panose="020F0502020204030204" pitchFamily="34" charset="0"/>
              </a:rPr>
              <a:t>c</a:t>
            </a:r>
            <a:r>
              <a:rPr lang="fr-FR" sz="1800" b="0" i="0" u="none" strike="noStrike" baseline="0" dirty="0">
                <a:solidFill>
                  <a:srgbClr val="000000"/>
                </a:solidFill>
                <a:latin typeface="Calibri" panose="020F0502020204030204" pitchFamily="34" charset="0"/>
              </a:rPr>
              <a:t>ontrôler l'accès ou départ à une route. </a:t>
            </a:r>
          </a:p>
          <a:p>
            <a:r>
              <a:rPr lang="fr-FR" sz="1800" b="1" i="0" u="none" strike="noStrike" baseline="0" dirty="0">
                <a:solidFill>
                  <a:srgbClr val="000000"/>
                </a:solidFill>
                <a:latin typeface="Calibri" panose="020F0502020204030204" pitchFamily="34" charset="0"/>
              </a:rPr>
              <a:t>Dossier interceptors : </a:t>
            </a:r>
            <a:r>
              <a:rPr lang="fr-FR" sz="1800" b="0" i="0" u="none" strike="noStrike" baseline="0" dirty="0">
                <a:solidFill>
                  <a:srgbClr val="000000"/>
                </a:solidFill>
                <a:latin typeface="Calibri" panose="020F0502020204030204" pitchFamily="34" charset="0"/>
              </a:rPr>
              <a:t>intercepte et traite une requête HTTP en y incorporant le token de Keycloack. </a:t>
            </a:r>
          </a:p>
        </p:txBody>
      </p:sp>
      <p:pic>
        <p:nvPicPr>
          <p:cNvPr id="5" name="Image 4">
            <a:extLst>
              <a:ext uri="{FF2B5EF4-FFF2-40B4-BE49-F238E27FC236}">
                <a16:creationId xmlns:a16="http://schemas.microsoft.com/office/drawing/2014/main" id="{D8A41C0D-6A70-CCAA-0F89-09C137868889}"/>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297703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020638C-46A0-089D-8850-9152E53513B4}"/>
              </a:ext>
            </a:extLst>
          </p:cNvPr>
          <p:cNvSpPr>
            <a:spLocks noGrp="1"/>
          </p:cNvSpPr>
          <p:nvPr>
            <p:ph type="body" sz="quarter" idx="14"/>
          </p:nvPr>
        </p:nvSpPr>
        <p:spPr>
          <a:xfrm>
            <a:off x="161823" y="1308714"/>
            <a:ext cx="7045427" cy="4317385"/>
          </a:xfrm>
        </p:spPr>
        <p:txBody>
          <a:bodyPr/>
          <a:lstStyle/>
          <a:p>
            <a:r>
              <a:rPr lang="fr-FR" sz="1600" b="1" i="0" u="none" strike="noStrike" baseline="0" dirty="0">
                <a:solidFill>
                  <a:srgbClr val="000000"/>
                </a:solidFill>
                <a:latin typeface="Calibri" panose="020F0502020204030204" pitchFamily="34" charset="0"/>
              </a:rPr>
              <a:t>Dossier models : </a:t>
            </a:r>
            <a:r>
              <a:rPr lang="fr-FR" sz="1600" b="0" i="0" u="none" strike="noStrike" baseline="0" dirty="0">
                <a:solidFill>
                  <a:srgbClr val="000000"/>
                </a:solidFill>
                <a:latin typeface="Calibri" panose="020F0502020204030204" pitchFamily="34" charset="0"/>
              </a:rPr>
              <a:t>modèles pour gérer les actualités du Hub et les emails. </a:t>
            </a:r>
          </a:p>
          <a:p>
            <a:r>
              <a:rPr lang="fr-FR" sz="1600" b="1" i="0" u="none" strike="noStrike" baseline="0" dirty="0">
                <a:solidFill>
                  <a:srgbClr val="000000"/>
                </a:solidFill>
                <a:latin typeface="Calibri" panose="020F0502020204030204" pitchFamily="34" charset="0"/>
              </a:rPr>
              <a:t>Dossier pages : </a:t>
            </a:r>
            <a:r>
              <a:rPr lang="fr-FR" sz="1600" b="0" i="0" u="none" strike="noStrike" baseline="0" dirty="0">
                <a:solidFill>
                  <a:srgbClr val="000000"/>
                </a:solidFill>
                <a:latin typeface="Calibri" panose="020F0502020204030204" pitchFamily="34" charset="0"/>
              </a:rPr>
              <a:t>composants des pages du portail Back-Office organisés de manière hiérarchique. </a:t>
            </a:r>
          </a:p>
          <a:p>
            <a:r>
              <a:rPr lang="fr-FR" sz="1600" b="1" i="0" u="none" strike="noStrike" baseline="0" dirty="0">
                <a:solidFill>
                  <a:srgbClr val="000000"/>
                </a:solidFill>
                <a:latin typeface="Calibri" panose="020F0502020204030204" pitchFamily="34" charset="0"/>
              </a:rPr>
              <a:t>Dossier pipes : </a:t>
            </a:r>
            <a:r>
              <a:rPr lang="fr-FR" sz="1600" b="0" i="0" u="none" strike="noStrike" baseline="0" dirty="0">
                <a:solidFill>
                  <a:srgbClr val="000000"/>
                </a:solidFill>
                <a:latin typeface="Calibri" panose="020F0502020204030204" pitchFamily="34" charset="0"/>
              </a:rPr>
              <a:t>filtres utilisables directement depuis la vue afin de transformer les valeurs lors du « binding » (date, heure, les noms, etc.) </a:t>
            </a:r>
          </a:p>
          <a:p>
            <a:r>
              <a:rPr lang="fr-FR" sz="1600" b="1" i="0" u="none" strike="noStrike" baseline="0" dirty="0">
                <a:solidFill>
                  <a:srgbClr val="000000"/>
                </a:solidFill>
                <a:latin typeface="Calibri" panose="020F0502020204030204" pitchFamily="34" charset="0"/>
              </a:rPr>
              <a:t>Dossier service : </a:t>
            </a:r>
            <a:r>
              <a:rPr lang="fr-FR" sz="1600" b="0" i="0" u="none" strike="noStrike" baseline="0" dirty="0">
                <a:solidFill>
                  <a:srgbClr val="000000"/>
                </a:solidFill>
                <a:latin typeface="Calibri" panose="020F0502020204030204" pitchFamily="34" charset="0"/>
              </a:rPr>
              <a:t>fonctionnalités spécifiques ( ex gestion session utilisateur) </a:t>
            </a:r>
          </a:p>
          <a:p>
            <a:r>
              <a:rPr lang="fr-FR" sz="1600" b="1" i="0" u="none" strike="noStrike" baseline="0" dirty="0">
                <a:solidFill>
                  <a:srgbClr val="000000"/>
                </a:solidFill>
                <a:latin typeface="Calibri" panose="020F0502020204030204" pitchFamily="34" charset="0"/>
              </a:rPr>
              <a:t>Dossier utils : </a:t>
            </a:r>
            <a:r>
              <a:rPr lang="fr-FR" sz="1600" b="0" i="0" u="none" strike="noStrike" baseline="0" dirty="0">
                <a:solidFill>
                  <a:srgbClr val="000000"/>
                </a:solidFill>
                <a:latin typeface="Calibri" panose="020F0502020204030204" pitchFamily="34" charset="0"/>
              </a:rPr>
              <a:t>manipulation de chaine de caractères.</a:t>
            </a:r>
            <a:endParaRPr lang="fr-FR" sz="1600" b="0" i="0" u="none" strike="noStrike" baseline="0" dirty="0">
              <a:latin typeface="Calibri" panose="020F0502020204030204" pitchFamily="34" charset="0"/>
            </a:endParaRPr>
          </a:p>
          <a:p>
            <a:r>
              <a:rPr lang="fr-FR" sz="1600" b="1" i="0" u="none" strike="noStrike" baseline="0" dirty="0">
                <a:latin typeface="Calibri" panose="020F0502020204030204" pitchFamily="34" charset="0"/>
              </a:rPr>
              <a:t>Dossier validators </a:t>
            </a:r>
            <a:r>
              <a:rPr lang="fr-FR" sz="1600" b="0" i="0" u="none" strike="noStrike" baseline="0" dirty="0">
                <a:latin typeface="Calibri" panose="020F0502020204030204" pitchFamily="34" charset="0"/>
              </a:rPr>
              <a:t>: fonctions de validation en paramètre dans les constructeurs des </a:t>
            </a:r>
            <a:r>
              <a:rPr lang="fr-FR" sz="1600" b="0" i="0" u="none" strike="noStrike" baseline="0" dirty="0" err="1">
                <a:latin typeface="Calibri" panose="020F0502020204030204" pitchFamily="34" charset="0"/>
              </a:rPr>
              <a:t>controls</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Control</a:t>
            </a:r>
            <a:r>
              <a:rPr lang="fr-FR" sz="1600" b="0" i="0" u="none" strike="noStrike" baseline="0" dirty="0">
                <a:latin typeface="Calibri" panose="020F0502020204030204" pitchFamily="34" charset="0"/>
              </a:rPr>
              <a:t>, </a:t>
            </a:r>
            <a:r>
              <a:rPr lang="fr-FR" sz="1600" b="0" i="0" u="none" strike="noStrike" baseline="0" dirty="0" err="1">
                <a:latin typeface="Calibri" panose="020F0502020204030204" pitchFamily="34" charset="0"/>
              </a:rPr>
              <a:t>FormGroup</a:t>
            </a:r>
            <a:r>
              <a:rPr lang="fr-FR" sz="1600" b="0" i="0" u="none" strike="noStrike" baseline="0" dirty="0">
                <a:latin typeface="Calibri" panose="020F0502020204030204" pitchFamily="34" charset="0"/>
              </a:rPr>
              <a:t> et </a:t>
            </a:r>
            <a:r>
              <a:rPr lang="fr-FR" sz="1600" b="0" i="0" u="none" strike="noStrike" baseline="0" dirty="0" err="1">
                <a:latin typeface="Calibri" panose="020F0502020204030204" pitchFamily="34" charset="0"/>
              </a:rPr>
              <a:t>FormArray</a:t>
            </a:r>
            <a:r>
              <a:rPr lang="fr-FR" sz="1600" b="0" i="0" u="none" strike="noStrike" baseline="0" dirty="0">
                <a:latin typeface="Calibri" panose="020F0502020204030204" pitchFamily="34" charset="0"/>
              </a:rPr>
              <a:t>). </a:t>
            </a:r>
            <a:endParaRPr lang="fr-FR" dirty="0"/>
          </a:p>
        </p:txBody>
      </p:sp>
      <p:sp>
        <p:nvSpPr>
          <p:cNvPr id="4" name="Titre 1">
            <a:extLst>
              <a:ext uri="{FF2B5EF4-FFF2-40B4-BE49-F238E27FC236}">
                <a16:creationId xmlns:a16="http://schemas.microsoft.com/office/drawing/2014/main" id="{F5FADD90-903B-DCC6-5552-21B83B703DCF}"/>
              </a:ext>
            </a:extLst>
          </p:cNvPr>
          <p:cNvSpPr txBox="1">
            <a:spLocks/>
          </p:cNvSpPr>
          <p:nvPr/>
        </p:nvSpPr>
        <p:spPr>
          <a:xfrm>
            <a:off x="549473" y="711199"/>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dirty="0"/>
              <a:t>Architecture en dossiers</a:t>
            </a:r>
          </a:p>
        </p:txBody>
      </p:sp>
      <p:pic>
        <p:nvPicPr>
          <p:cNvPr id="6" name="Image 5">
            <a:extLst>
              <a:ext uri="{FF2B5EF4-FFF2-40B4-BE49-F238E27FC236}">
                <a16:creationId xmlns:a16="http://schemas.microsoft.com/office/drawing/2014/main" id="{81F29B5E-5EA8-FACC-7C3E-6F002EBEA420}"/>
              </a:ext>
            </a:extLst>
          </p:cNvPr>
          <p:cNvPicPr>
            <a:picLocks noChangeAspect="1"/>
          </p:cNvPicPr>
          <p:nvPr/>
        </p:nvPicPr>
        <p:blipFill>
          <a:blip r:embed="rId2"/>
          <a:stretch>
            <a:fillRect/>
          </a:stretch>
        </p:blipFill>
        <p:spPr>
          <a:xfrm>
            <a:off x="7659945" y="1308715"/>
            <a:ext cx="2084232" cy="4780936"/>
          </a:xfrm>
          <a:prstGeom prst="rect">
            <a:avLst/>
          </a:prstGeom>
        </p:spPr>
      </p:pic>
    </p:spTree>
    <p:extLst>
      <p:ext uri="{BB962C8B-B14F-4D97-AF65-F5344CB8AC3E}">
        <p14:creationId xmlns:p14="http://schemas.microsoft.com/office/powerpoint/2010/main" val="3156854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0CC171-874D-01BE-A922-80244BD0F5FB}"/>
              </a:ext>
            </a:extLst>
          </p:cNvPr>
          <p:cNvSpPr>
            <a:spLocks noGrp="1"/>
          </p:cNvSpPr>
          <p:nvPr>
            <p:ph type="ctrTitle"/>
          </p:nvPr>
        </p:nvSpPr>
        <p:spPr>
          <a:xfrm>
            <a:off x="549473" y="697702"/>
            <a:ext cx="7561065" cy="436516"/>
          </a:xfrm>
        </p:spPr>
        <p:txBody>
          <a:bodyPr/>
          <a:lstStyle/>
          <a:p>
            <a:r>
              <a:rPr lang="fr-FR" dirty="0"/>
              <a:t>Fonctionnement général</a:t>
            </a:r>
          </a:p>
        </p:txBody>
      </p:sp>
      <p:pic>
        <p:nvPicPr>
          <p:cNvPr id="5" name="Image 4">
            <a:extLst>
              <a:ext uri="{FF2B5EF4-FFF2-40B4-BE49-F238E27FC236}">
                <a16:creationId xmlns:a16="http://schemas.microsoft.com/office/drawing/2014/main" id="{5589CB40-7CB5-83F2-CC45-0E0C47F73DA1}"/>
              </a:ext>
            </a:extLst>
          </p:cNvPr>
          <p:cNvPicPr>
            <a:picLocks noChangeAspect="1"/>
          </p:cNvPicPr>
          <p:nvPr/>
        </p:nvPicPr>
        <p:blipFill>
          <a:blip r:embed="rId2"/>
          <a:stretch>
            <a:fillRect/>
          </a:stretch>
        </p:blipFill>
        <p:spPr>
          <a:xfrm>
            <a:off x="1940028" y="1739899"/>
            <a:ext cx="5229122" cy="4747063"/>
          </a:xfrm>
          <a:prstGeom prst="rect">
            <a:avLst/>
          </a:prstGeom>
        </p:spPr>
      </p:pic>
    </p:spTree>
    <p:extLst>
      <p:ext uri="{BB962C8B-B14F-4D97-AF65-F5344CB8AC3E}">
        <p14:creationId xmlns:p14="http://schemas.microsoft.com/office/powerpoint/2010/main" val="184715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02ACF31-72C5-309A-5A27-E6450A29A0B1}"/>
              </a:ext>
            </a:extLst>
          </p:cNvPr>
          <p:cNvSpPr>
            <a:spLocks noGrp="1"/>
          </p:cNvSpPr>
          <p:nvPr>
            <p:ph type="ctrTitle"/>
          </p:nvPr>
        </p:nvSpPr>
        <p:spPr/>
        <p:txBody>
          <a:bodyPr/>
          <a:lstStyle/>
          <a:p>
            <a:r>
              <a:rPr lang="fr-FR" dirty="0"/>
              <a:t>L’Agence</a:t>
            </a:r>
          </a:p>
        </p:txBody>
      </p:sp>
      <p:pic>
        <p:nvPicPr>
          <p:cNvPr id="5" name="Image 4">
            <a:extLst>
              <a:ext uri="{FF2B5EF4-FFF2-40B4-BE49-F238E27FC236}">
                <a16:creationId xmlns:a16="http://schemas.microsoft.com/office/drawing/2014/main" id="{0CF449F9-E0F7-A4C9-FC09-3A896E111CA6}"/>
              </a:ext>
            </a:extLst>
          </p:cNvPr>
          <p:cNvPicPr>
            <a:picLocks noChangeAspect="1"/>
          </p:cNvPicPr>
          <p:nvPr/>
        </p:nvPicPr>
        <p:blipFill>
          <a:blip r:embed="rId2"/>
          <a:stretch>
            <a:fillRect/>
          </a:stretch>
        </p:blipFill>
        <p:spPr>
          <a:xfrm>
            <a:off x="74018" y="1745740"/>
            <a:ext cx="8645326" cy="4902710"/>
          </a:xfrm>
          <a:prstGeom prst="rect">
            <a:avLst/>
          </a:prstGeom>
        </p:spPr>
      </p:pic>
      <p:sp>
        <p:nvSpPr>
          <p:cNvPr id="6" name="Espace réservé du texte 3">
            <a:extLst>
              <a:ext uri="{FF2B5EF4-FFF2-40B4-BE49-F238E27FC236}">
                <a16:creationId xmlns:a16="http://schemas.microsoft.com/office/drawing/2014/main" id="{A9BE89F8-229F-658E-4DE0-1012046B1FEA}"/>
              </a:ext>
            </a:extLst>
          </p:cNvPr>
          <p:cNvSpPr>
            <a:spLocks noGrp="1"/>
          </p:cNvSpPr>
          <p:nvPr>
            <p:ph type="body" sz="quarter" idx="12"/>
          </p:nvPr>
        </p:nvSpPr>
        <p:spPr>
          <a:xfrm>
            <a:off x="7343" y="1134219"/>
            <a:ext cx="8103195" cy="882023"/>
          </a:xfrm>
        </p:spPr>
        <p:txBody>
          <a:bodyPr/>
          <a:lstStyle/>
          <a:p>
            <a:pPr marL="107950">
              <a:spcAft>
                <a:spcPts val="1500"/>
              </a:spcAft>
            </a:pP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L’agence de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Toulouse</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 la plus importante de la </a:t>
            </a:r>
            <a:r>
              <a:rPr lang="fr-FR" sz="1800" b="1"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Branche Sud-Ouest</a:t>
            </a:r>
            <a:r>
              <a:rPr lang="fr-FR" sz="1800" dirty="0">
                <a:solidFill>
                  <a:srgbClr val="222C4A"/>
                </a:solidFill>
                <a:effectLst/>
                <a:latin typeface="Calibri" panose="020F0502020204030204" pitchFamily="34" charset="0"/>
                <a:ea typeface="Verdana" panose="020B0604030504040204" pitchFamily="34" charset="0"/>
                <a:cs typeface="Calibri" panose="020F0502020204030204" pitchFamily="34" charset="0"/>
              </a:rPr>
              <a:t>. </a:t>
            </a:r>
            <a:endParaRPr lang="fr-FR" sz="1800" dirty="0">
              <a:solidFill>
                <a:srgbClr val="222C4A"/>
              </a:solidFill>
              <a:effectLst/>
              <a:latin typeface="Verdana" panose="020B0604030504040204" pitchFamily="34" charset="0"/>
              <a:ea typeface="Verdana" panose="020B0604030504040204" pitchFamily="34" charset="0"/>
              <a:cs typeface="Calibri" panose="020F0502020204030204" pitchFamily="34" charset="0"/>
            </a:endParaRPr>
          </a:p>
          <a:p>
            <a:endParaRPr lang="fr-FR" dirty="0"/>
          </a:p>
        </p:txBody>
      </p:sp>
    </p:spTree>
    <p:extLst>
      <p:ext uri="{BB962C8B-B14F-4D97-AF65-F5344CB8AC3E}">
        <p14:creationId xmlns:p14="http://schemas.microsoft.com/office/powerpoint/2010/main" val="2575682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E2D150-487B-8230-B994-CDDE3D6B2F0E}"/>
              </a:ext>
            </a:extLst>
          </p:cNvPr>
          <p:cNvSpPr>
            <a:spLocks noGrp="1"/>
          </p:cNvSpPr>
          <p:nvPr>
            <p:ph type="ctrTitle"/>
          </p:nvPr>
        </p:nvSpPr>
        <p:spPr/>
        <p:txBody>
          <a:bodyPr/>
          <a:lstStyle/>
          <a:p>
            <a:r>
              <a:rPr lang="fr-FR" dirty="0"/>
              <a:t>Plateforme technique</a:t>
            </a:r>
          </a:p>
        </p:txBody>
      </p:sp>
      <p:pic>
        <p:nvPicPr>
          <p:cNvPr id="5" name="Image 4">
            <a:extLst>
              <a:ext uri="{FF2B5EF4-FFF2-40B4-BE49-F238E27FC236}">
                <a16:creationId xmlns:a16="http://schemas.microsoft.com/office/drawing/2014/main" id="{9A62D288-2E63-2894-D558-C8C120307BDA}"/>
              </a:ext>
            </a:extLst>
          </p:cNvPr>
          <p:cNvPicPr>
            <a:picLocks noChangeAspect="1"/>
          </p:cNvPicPr>
          <p:nvPr/>
        </p:nvPicPr>
        <p:blipFill>
          <a:blip r:embed="rId2"/>
          <a:stretch>
            <a:fillRect/>
          </a:stretch>
        </p:blipFill>
        <p:spPr>
          <a:xfrm>
            <a:off x="549473" y="1620693"/>
            <a:ext cx="8016677" cy="4828225"/>
          </a:xfrm>
          <a:prstGeom prst="rect">
            <a:avLst/>
          </a:prstGeom>
        </p:spPr>
      </p:pic>
    </p:spTree>
    <p:extLst>
      <p:ext uri="{BB962C8B-B14F-4D97-AF65-F5344CB8AC3E}">
        <p14:creationId xmlns:p14="http://schemas.microsoft.com/office/powerpoint/2010/main" val="2176584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001AAE2-CEE1-34A6-64EF-8D82DFC0CC38}"/>
              </a:ext>
            </a:extLst>
          </p:cNvPr>
          <p:cNvSpPr>
            <a:spLocks noGrp="1"/>
          </p:cNvSpPr>
          <p:nvPr>
            <p:ph type="body" sz="quarter" idx="11"/>
          </p:nvPr>
        </p:nvSpPr>
        <p:spPr/>
        <p:txBody>
          <a:bodyPr/>
          <a:lstStyle/>
          <a:p>
            <a:r>
              <a:rPr lang="fr-FR" dirty="0"/>
              <a:t>02</a:t>
            </a:r>
          </a:p>
        </p:txBody>
      </p:sp>
      <p:sp>
        <p:nvSpPr>
          <p:cNvPr id="3" name="Titre 2">
            <a:extLst>
              <a:ext uri="{FF2B5EF4-FFF2-40B4-BE49-F238E27FC236}">
                <a16:creationId xmlns:a16="http://schemas.microsoft.com/office/drawing/2014/main" id="{3FC168EE-E01A-D0F2-FA18-45A84E8A3CA1}"/>
              </a:ext>
            </a:extLst>
          </p:cNvPr>
          <p:cNvSpPr>
            <a:spLocks noGrp="1"/>
          </p:cNvSpPr>
          <p:nvPr>
            <p:ph type="ctrTitle"/>
          </p:nvPr>
        </p:nvSpPr>
        <p:spPr/>
        <p:txBody>
          <a:bodyPr/>
          <a:lstStyle/>
          <a:p>
            <a:r>
              <a:rPr lang="fr-FR" dirty="0"/>
              <a:t>Ma mission</a:t>
            </a:r>
          </a:p>
        </p:txBody>
      </p:sp>
    </p:spTree>
    <p:extLst>
      <p:ext uri="{BB962C8B-B14F-4D97-AF65-F5344CB8AC3E}">
        <p14:creationId xmlns:p14="http://schemas.microsoft.com/office/powerpoint/2010/main" val="30484100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3286AB-7F1E-874E-4445-61A685AFEF11}"/>
              </a:ext>
            </a:extLst>
          </p:cNvPr>
          <p:cNvSpPr>
            <a:spLocks noGrp="1"/>
          </p:cNvSpPr>
          <p:nvPr>
            <p:ph type="ctrTitle"/>
          </p:nvPr>
        </p:nvSpPr>
        <p:spPr/>
        <p:txBody>
          <a:bodyPr/>
          <a:lstStyle/>
          <a:p>
            <a:r>
              <a:rPr lang="fr-FR" dirty="0"/>
              <a:t>Diagramme de classe</a:t>
            </a:r>
          </a:p>
        </p:txBody>
      </p:sp>
      <p:sp>
        <p:nvSpPr>
          <p:cNvPr id="3" name="Espace réservé du texte 2">
            <a:extLst>
              <a:ext uri="{FF2B5EF4-FFF2-40B4-BE49-F238E27FC236}">
                <a16:creationId xmlns:a16="http://schemas.microsoft.com/office/drawing/2014/main" id="{47935941-5EA5-E256-6439-76446D4C6541}"/>
              </a:ext>
            </a:extLst>
          </p:cNvPr>
          <p:cNvSpPr>
            <a:spLocks noGrp="1"/>
          </p:cNvSpPr>
          <p:nvPr>
            <p:ph type="body" sz="quarter" idx="14"/>
          </p:nvPr>
        </p:nvSpPr>
        <p:spPr>
          <a:xfrm>
            <a:off x="549473" y="1989474"/>
            <a:ext cx="8835827" cy="1324196"/>
          </a:xfrm>
        </p:spPr>
        <p:txBody>
          <a:bodyPr/>
          <a:lstStyle/>
          <a:p>
            <a:r>
              <a:rPr lang="fr-FR" dirty="0"/>
              <a:t>Un diagramme de classe est un type de </a:t>
            </a:r>
            <a:r>
              <a:rPr lang="fr-FR" b="1" dirty="0"/>
              <a:t>diagramme UML </a:t>
            </a:r>
            <a:r>
              <a:rPr lang="fr-FR" dirty="0"/>
              <a:t>utile pour la conception technique qui décrit un système en visualisant les différents </a:t>
            </a:r>
            <a:r>
              <a:rPr lang="fr-FR" b="1" i="1" dirty="0"/>
              <a:t>types d’objets au sein d’un système </a:t>
            </a:r>
            <a:r>
              <a:rPr lang="fr-FR" dirty="0"/>
              <a:t>et les </a:t>
            </a:r>
            <a:r>
              <a:rPr lang="fr-FR" b="1" dirty="0"/>
              <a:t>types de relations statiques</a:t>
            </a:r>
            <a:r>
              <a:rPr lang="fr-FR" dirty="0"/>
              <a:t> qui existent entre eux.</a:t>
            </a:r>
            <a:br>
              <a:rPr lang="fr-FR" dirty="0"/>
            </a:br>
            <a:br>
              <a:rPr lang="fr-FR" dirty="0"/>
            </a:br>
            <a:r>
              <a:rPr lang="fr-FR" dirty="0"/>
              <a:t> Il illustre également les </a:t>
            </a:r>
            <a:r>
              <a:rPr lang="fr-FR" b="1" dirty="0"/>
              <a:t>méthodes et les attributs des classes</a:t>
            </a:r>
            <a:r>
              <a:rPr lang="fr-FR" dirty="0"/>
              <a:t>.</a:t>
            </a:r>
          </a:p>
        </p:txBody>
      </p:sp>
    </p:spTree>
    <p:extLst>
      <p:ext uri="{BB962C8B-B14F-4D97-AF65-F5344CB8AC3E}">
        <p14:creationId xmlns:p14="http://schemas.microsoft.com/office/powerpoint/2010/main" val="29791148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BE6F65-85A7-A39B-1A41-5EBC91BAA9B1}"/>
              </a:ext>
            </a:extLst>
          </p:cNvPr>
          <p:cNvSpPr>
            <a:spLocks noGrp="1"/>
          </p:cNvSpPr>
          <p:nvPr>
            <p:ph type="ctrTitle"/>
          </p:nvPr>
        </p:nvSpPr>
        <p:spPr>
          <a:xfrm>
            <a:off x="549473" y="697702"/>
            <a:ext cx="7561065" cy="436516"/>
          </a:xfrm>
        </p:spPr>
        <p:txBody>
          <a:bodyPr/>
          <a:lstStyle/>
          <a:p>
            <a:r>
              <a:rPr lang="fr-FR" dirty="0"/>
              <a:t>extraction des dispositifs</a:t>
            </a:r>
          </a:p>
        </p:txBody>
      </p:sp>
      <p:pic>
        <p:nvPicPr>
          <p:cNvPr id="5" name="Image 4">
            <a:extLst>
              <a:ext uri="{FF2B5EF4-FFF2-40B4-BE49-F238E27FC236}">
                <a16:creationId xmlns:a16="http://schemas.microsoft.com/office/drawing/2014/main" id="{0D39AAC8-F200-85D9-2A3C-332EF86B7ACA}"/>
              </a:ext>
            </a:extLst>
          </p:cNvPr>
          <p:cNvPicPr>
            <a:picLocks noChangeAspect="1"/>
          </p:cNvPicPr>
          <p:nvPr/>
        </p:nvPicPr>
        <p:blipFill>
          <a:blip r:embed="rId2"/>
          <a:stretch>
            <a:fillRect/>
          </a:stretch>
        </p:blipFill>
        <p:spPr>
          <a:xfrm>
            <a:off x="549473" y="1217427"/>
            <a:ext cx="6378377" cy="5543511"/>
          </a:xfrm>
          <a:prstGeom prst="rect">
            <a:avLst/>
          </a:prstGeom>
        </p:spPr>
      </p:pic>
    </p:spTree>
    <p:extLst>
      <p:ext uri="{BB962C8B-B14F-4D97-AF65-F5344CB8AC3E}">
        <p14:creationId xmlns:p14="http://schemas.microsoft.com/office/powerpoint/2010/main" val="1339459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0AC7D-BBE4-3BB1-0E4E-770C092FE3B4}"/>
              </a:ext>
            </a:extLst>
          </p:cNvPr>
          <p:cNvSpPr>
            <a:spLocks noGrp="1"/>
          </p:cNvSpPr>
          <p:nvPr>
            <p:ph type="ctrTitle"/>
          </p:nvPr>
        </p:nvSpPr>
        <p:spPr/>
        <p:txBody>
          <a:bodyPr/>
          <a:lstStyle/>
          <a:p>
            <a:r>
              <a:rPr lang="fr-FR" dirty="0"/>
              <a:t>Diagramme de séquence</a:t>
            </a:r>
          </a:p>
        </p:txBody>
      </p:sp>
      <p:sp>
        <p:nvSpPr>
          <p:cNvPr id="3" name="Espace réservé du texte 2">
            <a:extLst>
              <a:ext uri="{FF2B5EF4-FFF2-40B4-BE49-F238E27FC236}">
                <a16:creationId xmlns:a16="http://schemas.microsoft.com/office/drawing/2014/main" id="{071C3B74-86F8-650D-2815-E38A834D3761}"/>
              </a:ext>
            </a:extLst>
          </p:cNvPr>
          <p:cNvSpPr>
            <a:spLocks noGrp="1"/>
          </p:cNvSpPr>
          <p:nvPr>
            <p:ph type="body" sz="quarter" idx="14"/>
          </p:nvPr>
        </p:nvSpPr>
        <p:spPr>
          <a:xfrm>
            <a:off x="549473" y="1989474"/>
            <a:ext cx="8694148" cy="1571827"/>
          </a:xfrm>
        </p:spPr>
        <p:txBody>
          <a:bodyPr/>
          <a:lstStyle/>
          <a:p>
            <a:r>
              <a:rPr lang="fr-FR" dirty="0"/>
              <a:t>Modélise les </a:t>
            </a:r>
            <a:r>
              <a:rPr lang="fr-FR" b="1" dirty="0"/>
              <a:t>interactions entre les objets</a:t>
            </a:r>
            <a:r>
              <a:rPr lang="fr-FR" dirty="0"/>
              <a:t> dans un cas d’utilisation unique </a:t>
            </a:r>
            <a:r>
              <a:rPr lang="fr-FR" b="1" dirty="0"/>
              <a:t>de façon chronologique.</a:t>
            </a:r>
            <a:br>
              <a:rPr lang="fr-FR" b="1" dirty="0"/>
            </a:br>
            <a:br>
              <a:rPr lang="fr-FR" dirty="0"/>
            </a:br>
            <a:r>
              <a:rPr lang="fr-FR" dirty="0"/>
              <a:t>Ils illustrent la manière dont les différentes parties d’un système interagissent entre elles pour exécuter une fonction, et l’ordre dans lequel les interactions se produisent lorsqu’un cas d’utilisation particulier est exécuté.</a:t>
            </a:r>
          </a:p>
        </p:txBody>
      </p:sp>
    </p:spTree>
    <p:extLst>
      <p:ext uri="{BB962C8B-B14F-4D97-AF65-F5344CB8AC3E}">
        <p14:creationId xmlns:p14="http://schemas.microsoft.com/office/powerpoint/2010/main" val="1813288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CB6603-7D15-43C1-C9FE-7189C9ED34E9}"/>
              </a:ext>
            </a:extLst>
          </p:cNvPr>
          <p:cNvSpPr>
            <a:spLocks noGrp="1"/>
          </p:cNvSpPr>
          <p:nvPr>
            <p:ph type="ctrTitle"/>
          </p:nvPr>
        </p:nvSpPr>
        <p:spPr/>
        <p:txBody>
          <a:bodyPr/>
          <a:lstStyle/>
          <a:p>
            <a:r>
              <a:rPr lang="fr-FR" dirty="0"/>
              <a:t>extraction des dispositifs</a:t>
            </a:r>
          </a:p>
        </p:txBody>
      </p:sp>
      <p:pic>
        <p:nvPicPr>
          <p:cNvPr id="5" name="Image 4">
            <a:extLst>
              <a:ext uri="{FF2B5EF4-FFF2-40B4-BE49-F238E27FC236}">
                <a16:creationId xmlns:a16="http://schemas.microsoft.com/office/drawing/2014/main" id="{96C9A69A-8523-6361-F145-FE5B51CF04E1}"/>
              </a:ext>
            </a:extLst>
          </p:cNvPr>
          <p:cNvPicPr>
            <a:picLocks noChangeAspect="1"/>
          </p:cNvPicPr>
          <p:nvPr/>
        </p:nvPicPr>
        <p:blipFill>
          <a:blip r:embed="rId2"/>
          <a:stretch>
            <a:fillRect/>
          </a:stretch>
        </p:blipFill>
        <p:spPr>
          <a:xfrm>
            <a:off x="549473" y="1338633"/>
            <a:ext cx="7819828" cy="5392698"/>
          </a:xfrm>
          <a:prstGeom prst="rect">
            <a:avLst/>
          </a:prstGeom>
        </p:spPr>
      </p:pic>
    </p:spTree>
    <p:extLst>
      <p:ext uri="{BB962C8B-B14F-4D97-AF65-F5344CB8AC3E}">
        <p14:creationId xmlns:p14="http://schemas.microsoft.com/office/powerpoint/2010/main" val="42648571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FF3425-3FE8-0A98-397A-3FCB881F0C0E}"/>
              </a:ext>
            </a:extLst>
          </p:cNvPr>
          <p:cNvSpPr>
            <a:spLocks noGrp="1"/>
          </p:cNvSpPr>
          <p:nvPr>
            <p:ph type="title"/>
          </p:nvPr>
        </p:nvSpPr>
        <p:spPr/>
        <p:txBody>
          <a:bodyPr/>
          <a:lstStyle/>
          <a:p>
            <a:r>
              <a:rPr lang="fr-FR" dirty="0"/>
              <a:t>Implémentation</a:t>
            </a:r>
          </a:p>
        </p:txBody>
      </p:sp>
      <p:sp>
        <p:nvSpPr>
          <p:cNvPr id="5" name="Espace réservé du texte 4">
            <a:extLst>
              <a:ext uri="{FF2B5EF4-FFF2-40B4-BE49-F238E27FC236}">
                <a16:creationId xmlns:a16="http://schemas.microsoft.com/office/drawing/2014/main" id="{BD150983-70DA-5D96-77C2-8C018890DA7B}"/>
              </a:ext>
            </a:extLst>
          </p:cNvPr>
          <p:cNvSpPr>
            <a:spLocks noGrp="1"/>
          </p:cNvSpPr>
          <p:nvPr>
            <p:ph type="body" sz="quarter" idx="13"/>
          </p:nvPr>
        </p:nvSpPr>
        <p:spPr/>
        <p:txBody>
          <a:bodyPr/>
          <a:lstStyle/>
          <a:p>
            <a:r>
              <a:rPr lang="fr-FR" dirty="0"/>
              <a:t>06</a:t>
            </a:r>
          </a:p>
        </p:txBody>
      </p:sp>
      <p:pic>
        <p:nvPicPr>
          <p:cNvPr id="6" name="Image 5">
            <a:extLst>
              <a:ext uri="{FF2B5EF4-FFF2-40B4-BE49-F238E27FC236}">
                <a16:creationId xmlns:a16="http://schemas.microsoft.com/office/drawing/2014/main" id="{3D7621DC-3417-1F20-8D24-1E225DFFC452}"/>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352099888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7BAEE0-D231-630B-4763-4B28526A0723}"/>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982D6316-F9C4-3F8F-0BA4-5515C9504A16}"/>
              </a:ext>
            </a:extLst>
          </p:cNvPr>
          <p:cNvPicPr>
            <a:picLocks noChangeAspect="1"/>
          </p:cNvPicPr>
          <p:nvPr/>
        </p:nvPicPr>
        <p:blipFill>
          <a:blip r:embed="rId2"/>
          <a:stretch>
            <a:fillRect/>
          </a:stretch>
        </p:blipFill>
        <p:spPr>
          <a:xfrm>
            <a:off x="549473" y="1403350"/>
            <a:ext cx="7501659" cy="4974086"/>
          </a:xfrm>
          <a:prstGeom prst="rect">
            <a:avLst/>
          </a:prstGeom>
        </p:spPr>
      </p:pic>
    </p:spTree>
    <p:extLst>
      <p:ext uri="{BB962C8B-B14F-4D97-AF65-F5344CB8AC3E}">
        <p14:creationId xmlns:p14="http://schemas.microsoft.com/office/powerpoint/2010/main" val="8790711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7FDFDA-509A-A40C-0CD3-1E3D38F81411}"/>
              </a:ext>
            </a:extLst>
          </p:cNvPr>
          <p:cNvSpPr>
            <a:spLocks noGrp="1"/>
          </p:cNvSpPr>
          <p:nvPr>
            <p:ph type="ctrTitle"/>
          </p:nvPr>
        </p:nvSpPr>
        <p:spPr/>
        <p:txBody>
          <a:bodyPr/>
          <a:lstStyle/>
          <a:p>
            <a:r>
              <a:rPr lang="fr-FR" dirty="0"/>
              <a:t>PR7 : </a:t>
            </a:r>
            <a:r>
              <a:rPr lang="fr-FR" dirty="0" err="1"/>
              <a:t>PlanService.ts</a:t>
            </a:r>
            <a:r>
              <a:rPr lang="fr-FR" dirty="0"/>
              <a:t> (Service)</a:t>
            </a:r>
          </a:p>
        </p:txBody>
      </p:sp>
      <p:pic>
        <p:nvPicPr>
          <p:cNvPr id="5" name="Image 4">
            <a:extLst>
              <a:ext uri="{FF2B5EF4-FFF2-40B4-BE49-F238E27FC236}">
                <a16:creationId xmlns:a16="http://schemas.microsoft.com/office/drawing/2014/main" id="{66C0A17F-D490-BB97-8240-CCC176B71B1E}"/>
              </a:ext>
            </a:extLst>
          </p:cNvPr>
          <p:cNvPicPr>
            <a:picLocks noChangeAspect="1"/>
          </p:cNvPicPr>
          <p:nvPr/>
        </p:nvPicPr>
        <p:blipFill>
          <a:blip r:embed="rId2"/>
          <a:stretch>
            <a:fillRect/>
          </a:stretch>
        </p:blipFill>
        <p:spPr>
          <a:xfrm>
            <a:off x="438150" y="2783999"/>
            <a:ext cx="5781368" cy="1622323"/>
          </a:xfrm>
          <a:prstGeom prst="rect">
            <a:avLst/>
          </a:prstGeom>
        </p:spPr>
      </p:pic>
      <p:sp>
        <p:nvSpPr>
          <p:cNvPr id="8" name="ZoneTexte 7">
            <a:extLst>
              <a:ext uri="{FF2B5EF4-FFF2-40B4-BE49-F238E27FC236}">
                <a16:creationId xmlns:a16="http://schemas.microsoft.com/office/drawing/2014/main" id="{ECA034D8-5644-6B75-85CA-8632259E388C}"/>
              </a:ext>
            </a:extLst>
          </p:cNvPr>
          <p:cNvSpPr txBox="1"/>
          <p:nvPr/>
        </p:nvSpPr>
        <p:spPr>
          <a:xfrm>
            <a:off x="5734050" y="1228005"/>
            <a:ext cx="4311650" cy="1077218"/>
          </a:xfrm>
          <a:prstGeom prst="rect">
            <a:avLst/>
          </a:prstGeom>
          <a:noFill/>
        </p:spPr>
        <p:txBody>
          <a:bodyPr wrap="square" rtlCol="0">
            <a:spAutoFit/>
          </a:bodyPr>
          <a:lstStyle/>
          <a:p>
            <a:r>
              <a:rPr lang="fr-FR" sz="1600" b="1" i="0" u="none" strike="noStrike" baseline="0" dirty="0" err="1">
                <a:solidFill>
                  <a:srgbClr val="212C49"/>
                </a:solidFill>
                <a:latin typeface="Calibri" panose="020F0502020204030204" pitchFamily="34" charset="0"/>
              </a:rPr>
              <a:t>ArrayBuffer</a:t>
            </a:r>
            <a:r>
              <a:rPr lang="fr-FR" sz="1600" b="1" i="0" u="none" strike="noStrike" baseline="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 tampon de données binaires, </a:t>
            </a:r>
          </a:p>
          <a:p>
            <a:r>
              <a:rPr lang="fr-FR" sz="1600" b="0" i="0" u="none" strike="noStrike" baseline="0" dirty="0">
                <a:solidFill>
                  <a:srgbClr val="212C49"/>
                </a:solidFill>
                <a:latin typeface="Calibri" panose="020F0502020204030204" pitchFamily="34" charset="0"/>
              </a:rPr>
              <a:t>Ne peuvent pas être lus ou écrits directement, mais peuvent être passés à un tableau typé pour interpréter le tampon brut</a:t>
            </a:r>
            <a:endParaRPr lang="fr-FR" sz="1600" dirty="0"/>
          </a:p>
        </p:txBody>
      </p:sp>
      <p:sp>
        <p:nvSpPr>
          <p:cNvPr id="9" name="ZoneTexte 8">
            <a:extLst>
              <a:ext uri="{FF2B5EF4-FFF2-40B4-BE49-F238E27FC236}">
                <a16:creationId xmlns:a16="http://schemas.microsoft.com/office/drawing/2014/main" id="{D89DE137-38E4-A0D4-3A87-C3F2494BEE94}"/>
              </a:ext>
            </a:extLst>
          </p:cNvPr>
          <p:cNvSpPr txBox="1"/>
          <p:nvPr/>
        </p:nvSpPr>
        <p:spPr>
          <a:xfrm>
            <a:off x="438150" y="1312165"/>
            <a:ext cx="4794250" cy="830997"/>
          </a:xfrm>
          <a:prstGeom prst="rect">
            <a:avLst/>
          </a:prstGeom>
          <a:noFill/>
        </p:spPr>
        <p:txBody>
          <a:bodyPr wrap="square" rtlCol="0">
            <a:spAutoFit/>
          </a:bodyPr>
          <a:lstStyle/>
          <a:p>
            <a:r>
              <a:rPr lang="fr-FR" sz="1600" b="1" i="0" u="none" strike="noStrike" baseline="0" dirty="0">
                <a:solidFill>
                  <a:srgbClr val="212C49"/>
                </a:solidFill>
                <a:latin typeface="Calibri" panose="020F0502020204030204" pitchFamily="34" charset="0"/>
              </a:rPr>
              <a:t>Promise </a:t>
            </a:r>
            <a:r>
              <a:rPr lang="fr-FR" sz="1600" dirty="0">
                <a:solidFill>
                  <a:srgbClr val="212C49"/>
                </a:solidFill>
                <a:latin typeface="Calibri" panose="020F0502020204030204" pitchFamily="34" charset="0"/>
              </a:rPr>
              <a:t>: </a:t>
            </a:r>
            <a:r>
              <a:rPr lang="fr-FR" sz="1600" b="0" i="0" u="none" strike="noStrike" baseline="0" dirty="0">
                <a:solidFill>
                  <a:srgbClr val="212C49"/>
                </a:solidFill>
                <a:latin typeface="Calibri" panose="020F0502020204030204" pitchFamily="34" charset="0"/>
              </a:rPr>
              <a:t>réaliser des traitements de façon asynchrone.</a:t>
            </a:r>
          </a:p>
          <a:p>
            <a:r>
              <a:rPr lang="fr-FR" sz="1600" b="0" i="0" u="none" strike="noStrike" baseline="0" dirty="0">
                <a:solidFill>
                  <a:srgbClr val="212C49"/>
                </a:solidFill>
                <a:latin typeface="Calibri" panose="020F0502020204030204" pitchFamily="34" charset="0"/>
              </a:rPr>
              <a:t>représente une valeur qui peut être disponible maintenant, dans le futur voire jamais.</a:t>
            </a:r>
            <a:endParaRPr lang="fr-FR" sz="1600" dirty="0"/>
          </a:p>
        </p:txBody>
      </p:sp>
      <p:sp>
        <p:nvSpPr>
          <p:cNvPr id="11" name="ZoneTexte 10">
            <a:extLst>
              <a:ext uri="{FF2B5EF4-FFF2-40B4-BE49-F238E27FC236}">
                <a16:creationId xmlns:a16="http://schemas.microsoft.com/office/drawing/2014/main" id="{78D41824-1C84-2C7B-AE88-A32D27E02E17}"/>
              </a:ext>
            </a:extLst>
          </p:cNvPr>
          <p:cNvSpPr txBox="1"/>
          <p:nvPr/>
        </p:nvSpPr>
        <p:spPr>
          <a:xfrm>
            <a:off x="660501" y="4821072"/>
            <a:ext cx="4140099" cy="1528928"/>
          </a:xfrm>
          <a:prstGeom prst="rect">
            <a:avLst/>
          </a:prstGeom>
          <a:noFill/>
        </p:spPr>
        <p:txBody>
          <a:bodyPr wrap="square" rtlCol="0">
            <a:spAutoFit/>
          </a:bodyPr>
          <a:lstStyle/>
          <a:p>
            <a:r>
              <a:rPr lang="fr-FR" sz="1800" i="0" u="none" strike="noStrike" baseline="0" dirty="0">
                <a:solidFill>
                  <a:srgbClr val="212C49"/>
                </a:solidFill>
                <a:latin typeface="Calibri" panose="020F0502020204030204" pitchFamily="34" charset="0"/>
              </a:rPr>
              <a:t>La propriété </a:t>
            </a:r>
            <a:r>
              <a:rPr lang="fr-FR" sz="1800" b="1" i="0" u="none" strike="noStrike" baseline="0" dirty="0">
                <a:solidFill>
                  <a:srgbClr val="212C49"/>
                </a:solidFill>
                <a:latin typeface="Calibri" panose="020F0502020204030204" pitchFamily="34" charset="0"/>
              </a:rPr>
              <a:t>http</a:t>
            </a:r>
            <a:r>
              <a:rPr lang="fr-FR" sz="1800" i="0" u="none" strike="noStrike" baseline="0" dirty="0">
                <a:solidFill>
                  <a:srgbClr val="212C49"/>
                </a:solidFill>
                <a:latin typeface="Calibri" panose="020F0502020204030204" pitchFamily="34" charset="0"/>
              </a:rPr>
              <a:t> est de type HttpClient fournit par Angular.</a:t>
            </a:r>
          </a:p>
          <a:p>
            <a:r>
              <a:rPr lang="fr-FR" sz="1800" i="0" u="none" strike="noStrike" baseline="0" dirty="0">
                <a:solidFill>
                  <a:srgbClr val="212C49"/>
                </a:solidFill>
                <a:latin typeface="Calibri" panose="020F0502020204030204" pitchFamily="34" charset="0"/>
              </a:rPr>
              <a:t> Ce service est disponible sous la forme d'une classe injectable avec des méthodes pour effectuer des requêtes http.</a:t>
            </a:r>
            <a:endParaRPr lang="fr-FR" dirty="0"/>
          </a:p>
        </p:txBody>
      </p:sp>
      <p:sp>
        <p:nvSpPr>
          <p:cNvPr id="12" name="ZoneTexte 11">
            <a:extLst>
              <a:ext uri="{FF2B5EF4-FFF2-40B4-BE49-F238E27FC236}">
                <a16:creationId xmlns:a16="http://schemas.microsoft.com/office/drawing/2014/main" id="{2C93E39D-A98C-6DBA-3FB9-CF2B992B60F4}"/>
              </a:ext>
            </a:extLst>
          </p:cNvPr>
          <p:cNvSpPr txBox="1"/>
          <p:nvPr/>
        </p:nvSpPr>
        <p:spPr>
          <a:xfrm>
            <a:off x="5489673" y="4284933"/>
            <a:ext cx="3901977" cy="1200329"/>
          </a:xfrm>
          <a:prstGeom prst="rect">
            <a:avLst/>
          </a:prstGeom>
          <a:noFill/>
        </p:spPr>
        <p:txBody>
          <a:bodyPr wrap="square" rtlCol="0">
            <a:spAutoFit/>
          </a:bodyPr>
          <a:lstStyle/>
          <a:p>
            <a:r>
              <a:rPr lang="fr-FR" sz="1800" b="0" i="0" u="none" strike="noStrike" baseline="0" dirty="0">
                <a:solidFill>
                  <a:srgbClr val="212C49"/>
                </a:solidFill>
                <a:latin typeface="Calibri" panose="020F0502020204030204" pitchFamily="34" charset="0"/>
              </a:rPr>
              <a:t>La propriété </a:t>
            </a:r>
            <a:r>
              <a:rPr lang="fr-FR" sz="1800" b="1" i="0" u="none" strike="noStrike" baseline="0" dirty="0">
                <a:solidFill>
                  <a:schemeClr val="tx2"/>
                </a:solidFill>
                <a:latin typeface="Calibri" panose="020F0502020204030204" pitchFamily="34" charset="0"/>
              </a:rPr>
              <a:t>api</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est de type </a:t>
            </a:r>
            <a:r>
              <a:rPr lang="fr-FR" sz="1800" b="0" i="0" u="none" strike="noStrike" baseline="0" dirty="0" err="1">
                <a:solidFill>
                  <a:srgbClr val="974705"/>
                </a:solidFill>
                <a:latin typeface="Calibri" panose="020F0502020204030204" pitchFamily="34" charset="0"/>
              </a:rPr>
              <a:t>ApiService</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est un service qui a pour propriété </a:t>
            </a:r>
            <a:r>
              <a:rPr lang="fr-FR" sz="1800" b="0" i="0" u="none" strike="noStrike" baseline="0" dirty="0" err="1">
                <a:solidFill>
                  <a:srgbClr val="974705"/>
                </a:solidFill>
                <a:latin typeface="Calibri" panose="020F0502020204030204" pitchFamily="34" charset="0"/>
              </a:rPr>
              <a:t>hubApiHost</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qui renseigne l’URL du backend. </a:t>
            </a:r>
            <a:endParaRPr lang="fr-FR" dirty="0"/>
          </a:p>
        </p:txBody>
      </p:sp>
    </p:spTree>
    <p:extLst>
      <p:ext uri="{BB962C8B-B14F-4D97-AF65-F5344CB8AC3E}">
        <p14:creationId xmlns:p14="http://schemas.microsoft.com/office/powerpoint/2010/main" val="2339988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8D47E-FFE2-AFDF-BB8F-BD3FE7046460}"/>
              </a:ext>
            </a:extLst>
          </p:cNvPr>
          <p:cNvSpPr>
            <a:spLocks noGrp="1"/>
          </p:cNvSpPr>
          <p:nvPr>
            <p:ph type="ctrTitle"/>
          </p:nvPr>
        </p:nvSpPr>
        <p:spPr/>
        <p:txBody>
          <a:bodyPr/>
          <a:lstStyle/>
          <a:p>
            <a:r>
              <a:rPr lang="fr-FR" dirty="0"/>
              <a:t>PR7 : Plan-</a:t>
            </a:r>
            <a:r>
              <a:rPr lang="fr-FR" dirty="0" err="1"/>
              <a:t>list</a:t>
            </a:r>
            <a:r>
              <a:rPr lang="fr-FR" dirty="0"/>
              <a:t>-</a:t>
            </a:r>
            <a:r>
              <a:rPr lang="fr-FR" dirty="0" err="1"/>
              <a:t>component.ts</a:t>
            </a:r>
            <a:endParaRPr lang="fr-FR" dirty="0"/>
          </a:p>
        </p:txBody>
      </p:sp>
      <p:pic>
        <p:nvPicPr>
          <p:cNvPr id="5" name="Image 4">
            <a:extLst>
              <a:ext uri="{FF2B5EF4-FFF2-40B4-BE49-F238E27FC236}">
                <a16:creationId xmlns:a16="http://schemas.microsoft.com/office/drawing/2014/main" id="{8EC9BEA5-9626-F040-CBF0-D2FA0126619D}"/>
              </a:ext>
            </a:extLst>
          </p:cNvPr>
          <p:cNvPicPr>
            <a:picLocks noChangeAspect="1"/>
          </p:cNvPicPr>
          <p:nvPr/>
        </p:nvPicPr>
        <p:blipFill>
          <a:blip r:embed="rId3"/>
          <a:stretch>
            <a:fillRect/>
          </a:stretch>
        </p:blipFill>
        <p:spPr>
          <a:xfrm>
            <a:off x="82961" y="1173931"/>
            <a:ext cx="5512412" cy="5087169"/>
          </a:xfrm>
          <a:prstGeom prst="rect">
            <a:avLst/>
          </a:prstGeom>
        </p:spPr>
      </p:pic>
      <p:sp>
        <p:nvSpPr>
          <p:cNvPr id="7" name="ZoneTexte 6">
            <a:extLst>
              <a:ext uri="{FF2B5EF4-FFF2-40B4-BE49-F238E27FC236}">
                <a16:creationId xmlns:a16="http://schemas.microsoft.com/office/drawing/2014/main" id="{38261584-9798-BD38-5C28-6A3F4AD0D956}"/>
              </a:ext>
            </a:extLst>
          </p:cNvPr>
          <p:cNvSpPr txBox="1"/>
          <p:nvPr/>
        </p:nvSpPr>
        <p:spPr>
          <a:xfrm>
            <a:off x="4387850" y="1188141"/>
            <a:ext cx="3657600" cy="523220"/>
          </a:xfrm>
          <a:prstGeom prst="rect">
            <a:avLst/>
          </a:prstGeom>
          <a:noFill/>
        </p:spPr>
        <p:txBody>
          <a:bodyPr wrap="square" rtlCol="0">
            <a:spAutoFit/>
          </a:bodyPr>
          <a:lstStyle/>
          <a:p>
            <a:r>
              <a:rPr lang="fr-FR" sz="1200" b="1" dirty="0"/>
              <a:t>test </a:t>
            </a:r>
            <a:r>
              <a:rPr lang="fr-FR" sz="1200" b="1" dirty="0" err="1"/>
              <a:t>boolean</a:t>
            </a:r>
            <a:r>
              <a:rPr lang="fr-FR" sz="1200" b="1" dirty="0"/>
              <a:t> </a:t>
            </a:r>
            <a:r>
              <a:rPr lang="fr-FR" sz="1200" b="1" dirty="0" err="1"/>
              <a:t>isExportDownloding</a:t>
            </a:r>
            <a:r>
              <a:rPr lang="fr-FR" sz="1200" b="1" dirty="0"/>
              <a:t>.</a:t>
            </a:r>
          </a:p>
          <a:p>
            <a:endParaRPr lang="fr-FR" sz="1600" dirty="0"/>
          </a:p>
        </p:txBody>
      </p:sp>
      <p:sp>
        <p:nvSpPr>
          <p:cNvPr id="8" name="ZoneTexte 7">
            <a:extLst>
              <a:ext uri="{FF2B5EF4-FFF2-40B4-BE49-F238E27FC236}">
                <a16:creationId xmlns:a16="http://schemas.microsoft.com/office/drawing/2014/main" id="{F1A57843-995C-B798-7ACE-001F48BF876F}"/>
              </a:ext>
            </a:extLst>
          </p:cNvPr>
          <p:cNvSpPr txBox="1"/>
          <p:nvPr/>
        </p:nvSpPr>
        <p:spPr>
          <a:xfrm>
            <a:off x="6686550" y="2377753"/>
            <a:ext cx="3657600" cy="707886"/>
          </a:xfrm>
          <a:prstGeom prst="rect">
            <a:avLst/>
          </a:prstGeom>
          <a:noFill/>
        </p:spPr>
        <p:txBody>
          <a:bodyPr wrap="square" rtlCol="0">
            <a:spAutoFit/>
          </a:bodyPr>
          <a:lstStyle/>
          <a:p>
            <a:r>
              <a:rPr lang="fr-FR" sz="1200" b="1" dirty="0"/>
              <a:t>Affichage notification avec </a:t>
            </a:r>
            <a:r>
              <a:rPr lang="fr-FR" sz="1200" b="1" dirty="0" err="1"/>
              <a:t>Toastr</a:t>
            </a:r>
            <a:r>
              <a:rPr lang="fr-FR" sz="1200" b="1" dirty="0"/>
              <a:t> (</a:t>
            </a:r>
            <a:r>
              <a:rPr lang="fr-FR" sz="1200" b="1" dirty="0" err="1"/>
              <a:t>Bibliotheque</a:t>
            </a:r>
            <a:r>
              <a:rPr lang="fr-FR" sz="1200" b="1" dirty="0"/>
              <a:t> JS utilisant </a:t>
            </a:r>
            <a:r>
              <a:rPr lang="fr-FR" sz="1200" b="1" dirty="0" err="1"/>
              <a:t>Jquery</a:t>
            </a:r>
            <a:r>
              <a:rPr lang="fr-FR" sz="1200" b="1" dirty="0"/>
              <a:t>)</a:t>
            </a:r>
          </a:p>
          <a:p>
            <a:endParaRPr lang="fr-FR" sz="1600" dirty="0"/>
          </a:p>
        </p:txBody>
      </p:sp>
      <p:pic>
        <p:nvPicPr>
          <p:cNvPr id="10" name="Image 9">
            <a:extLst>
              <a:ext uri="{FF2B5EF4-FFF2-40B4-BE49-F238E27FC236}">
                <a16:creationId xmlns:a16="http://schemas.microsoft.com/office/drawing/2014/main" id="{05BCE111-4945-8741-F34A-8341285728DE}"/>
              </a:ext>
            </a:extLst>
          </p:cNvPr>
          <p:cNvPicPr>
            <a:picLocks noChangeAspect="1"/>
          </p:cNvPicPr>
          <p:nvPr/>
        </p:nvPicPr>
        <p:blipFill>
          <a:blip r:embed="rId4"/>
          <a:stretch>
            <a:fillRect/>
          </a:stretch>
        </p:blipFill>
        <p:spPr>
          <a:xfrm>
            <a:off x="6686550" y="1711361"/>
            <a:ext cx="3219450" cy="666392"/>
          </a:xfrm>
          <a:prstGeom prst="rect">
            <a:avLst/>
          </a:prstGeom>
        </p:spPr>
      </p:pic>
      <p:cxnSp>
        <p:nvCxnSpPr>
          <p:cNvPr id="12" name="Connecteur droit avec flèche 11">
            <a:extLst>
              <a:ext uri="{FF2B5EF4-FFF2-40B4-BE49-F238E27FC236}">
                <a16:creationId xmlns:a16="http://schemas.microsoft.com/office/drawing/2014/main" id="{C932E7AD-C3B5-421F-457B-AE003915A6D2}"/>
              </a:ext>
            </a:extLst>
          </p:cNvPr>
          <p:cNvCxnSpPr>
            <a:cxnSpLocks/>
            <a:stCxn id="7" idx="1"/>
          </p:cNvCxnSpPr>
          <p:nvPr/>
        </p:nvCxnSpPr>
        <p:spPr>
          <a:xfrm flipH="1">
            <a:off x="2622550" y="1449751"/>
            <a:ext cx="1765300" cy="4615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Connecteur droit avec flèche 13">
            <a:extLst>
              <a:ext uri="{FF2B5EF4-FFF2-40B4-BE49-F238E27FC236}">
                <a16:creationId xmlns:a16="http://schemas.microsoft.com/office/drawing/2014/main" id="{DEE6264D-A321-2188-56B6-15047BCE140C}"/>
              </a:ext>
            </a:extLst>
          </p:cNvPr>
          <p:cNvCxnSpPr>
            <a:cxnSpLocks/>
          </p:cNvCxnSpPr>
          <p:nvPr/>
        </p:nvCxnSpPr>
        <p:spPr>
          <a:xfrm flipH="1" flipV="1">
            <a:off x="5595373" y="2377753"/>
            <a:ext cx="995927" cy="1231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ZoneTexte 16">
            <a:extLst>
              <a:ext uri="{FF2B5EF4-FFF2-40B4-BE49-F238E27FC236}">
                <a16:creationId xmlns:a16="http://schemas.microsoft.com/office/drawing/2014/main" id="{B0349BD1-520C-02A6-70B4-F23C00BE0100}"/>
              </a:ext>
            </a:extLst>
          </p:cNvPr>
          <p:cNvSpPr txBox="1"/>
          <p:nvPr/>
        </p:nvSpPr>
        <p:spPr>
          <a:xfrm>
            <a:off x="5409789" y="3167288"/>
            <a:ext cx="4413250" cy="2308324"/>
          </a:xfrm>
          <a:prstGeom prst="rect">
            <a:avLst/>
          </a:prstGeom>
          <a:noFill/>
        </p:spPr>
        <p:txBody>
          <a:bodyPr wrap="square" rtlCol="0">
            <a:spAutoFit/>
          </a:bodyPr>
          <a:lstStyle/>
          <a:p>
            <a:r>
              <a:rPr lang="fr-FR" sz="1200" b="1" dirty="0"/>
              <a:t>Récupère une Promise&lt;</a:t>
            </a:r>
            <a:r>
              <a:rPr lang="fr-FR" sz="1200" b="1" dirty="0" err="1"/>
              <a:t>ArrayBuffer</a:t>
            </a:r>
            <a:r>
              <a:rPr lang="fr-FR" sz="1200" b="1" dirty="0"/>
              <a:t>&gt; dans data</a:t>
            </a:r>
          </a:p>
          <a:p>
            <a:r>
              <a:rPr lang="fr-FR" sz="1200" b="1" dirty="0"/>
              <a:t>avec lequel on construit un blob en lui affectant le type MIME csv</a:t>
            </a:r>
          </a:p>
          <a:p>
            <a:endParaRPr lang="fr-FR" sz="1200" b="1" dirty="0"/>
          </a:p>
          <a:p>
            <a:r>
              <a:rPr lang="fr-FR" sz="1200" b="1" dirty="0"/>
              <a:t>Les blobs (pour </a:t>
            </a:r>
            <a:r>
              <a:rPr lang="fr-FR" sz="1200" b="1" dirty="0" err="1"/>
              <a:t>Binary</a:t>
            </a:r>
            <a:r>
              <a:rPr lang="fr-FR" sz="1200" b="1" dirty="0"/>
              <a:t> Large </a:t>
            </a:r>
            <a:r>
              <a:rPr lang="fr-FR" sz="1200" b="1" dirty="0" err="1"/>
              <a:t>Objects</a:t>
            </a:r>
            <a:r>
              <a:rPr lang="fr-FR" sz="1200" b="1" dirty="0"/>
              <a:t>) représentent des données qui ne sont pas dans un format JavaScript natif. </a:t>
            </a:r>
          </a:p>
          <a:p>
            <a:endParaRPr lang="fr-FR" sz="1200" b="1" dirty="0"/>
          </a:p>
          <a:p>
            <a:r>
              <a:rPr lang="fr-FR" sz="1200" b="1" dirty="0"/>
              <a:t>L'interface File est basée sur l'interface Blob et hérite des fonctionnalités de cette dernière tout en ajoutant des fonctionnalités pour gérer les fichiers sur le système de l'utilisateur.</a:t>
            </a:r>
            <a:endParaRPr lang="fr-FR" sz="1600" dirty="0"/>
          </a:p>
        </p:txBody>
      </p:sp>
      <p:cxnSp>
        <p:nvCxnSpPr>
          <p:cNvPr id="18" name="Connecteur droit avec flèche 17">
            <a:extLst>
              <a:ext uri="{FF2B5EF4-FFF2-40B4-BE49-F238E27FC236}">
                <a16:creationId xmlns:a16="http://schemas.microsoft.com/office/drawing/2014/main" id="{64E1F3C9-B032-E1F8-7D10-1B320614BD94}"/>
              </a:ext>
            </a:extLst>
          </p:cNvPr>
          <p:cNvCxnSpPr>
            <a:cxnSpLocks/>
          </p:cNvCxnSpPr>
          <p:nvPr/>
        </p:nvCxnSpPr>
        <p:spPr>
          <a:xfrm flipH="1">
            <a:off x="3720636" y="3543300"/>
            <a:ext cx="1613644" cy="813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ZoneTexte 20">
            <a:extLst>
              <a:ext uri="{FF2B5EF4-FFF2-40B4-BE49-F238E27FC236}">
                <a16:creationId xmlns:a16="http://schemas.microsoft.com/office/drawing/2014/main" id="{535C818E-94EA-B0A5-2FF7-82F9C3FB3DA6}"/>
              </a:ext>
            </a:extLst>
          </p:cNvPr>
          <p:cNvSpPr txBox="1"/>
          <p:nvPr/>
        </p:nvSpPr>
        <p:spPr>
          <a:xfrm>
            <a:off x="3720636" y="5965944"/>
            <a:ext cx="4081362" cy="461665"/>
          </a:xfrm>
          <a:prstGeom prst="rect">
            <a:avLst/>
          </a:prstGeom>
          <a:noFill/>
        </p:spPr>
        <p:txBody>
          <a:bodyPr wrap="square" rtlCol="0">
            <a:spAutoFit/>
          </a:bodyPr>
          <a:lstStyle/>
          <a:p>
            <a:r>
              <a:rPr lang="fr-FR" sz="1200" b="1" dirty="0"/>
              <a:t>FileSaver.js est une bibliothèque JS pour enregistrer des fichiers côté client.</a:t>
            </a:r>
            <a:endParaRPr lang="fr-FR" sz="1600" dirty="0"/>
          </a:p>
        </p:txBody>
      </p:sp>
      <p:cxnSp>
        <p:nvCxnSpPr>
          <p:cNvPr id="22" name="Connecteur droit avec flèche 21">
            <a:extLst>
              <a:ext uri="{FF2B5EF4-FFF2-40B4-BE49-F238E27FC236}">
                <a16:creationId xmlns:a16="http://schemas.microsoft.com/office/drawing/2014/main" id="{12A1ED5D-7F2B-319F-9CE7-CCABA9BEE07D}"/>
              </a:ext>
            </a:extLst>
          </p:cNvPr>
          <p:cNvCxnSpPr>
            <a:cxnSpLocks/>
          </p:cNvCxnSpPr>
          <p:nvPr/>
        </p:nvCxnSpPr>
        <p:spPr>
          <a:xfrm flipH="1" flipV="1">
            <a:off x="3327400" y="4768850"/>
            <a:ext cx="2139486" cy="11968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1572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83C92E7-0ACA-85A2-C269-78277D327634}"/>
              </a:ext>
            </a:extLst>
          </p:cNvPr>
          <p:cNvSpPr>
            <a:spLocks noGrp="1"/>
          </p:cNvSpPr>
          <p:nvPr>
            <p:ph type="ctrTitle"/>
          </p:nvPr>
        </p:nvSpPr>
        <p:spPr/>
        <p:txBody>
          <a:bodyPr/>
          <a:lstStyle/>
          <a:p>
            <a:r>
              <a:rPr lang="fr-FR" dirty="0"/>
              <a:t>Organisation des services</a:t>
            </a:r>
          </a:p>
        </p:txBody>
      </p:sp>
      <p:sp>
        <p:nvSpPr>
          <p:cNvPr id="4" name="Espace réservé du texte 3">
            <a:extLst>
              <a:ext uri="{FF2B5EF4-FFF2-40B4-BE49-F238E27FC236}">
                <a16:creationId xmlns:a16="http://schemas.microsoft.com/office/drawing/2014/main" id="{85E2C04D-52B3-C606-E39A-1B3AF65BD80F}"/>
              </a:ext>
            </a:extLst>
          </p:cNvPr>
          <p:cNvSpPr>
            <a:spLocks noGrp="1"/>
          </p:cNvSpPr>
          <p:nvPr>
            <p:ph type="body" sz="quarter" idx="12"/>
          </p:nvPr>
        </p:nvSpPr>
        <p:spPr>
          <a:xfrm>
            <a:off x="549474" y="1314710"/>
            <a:ext cx="4039791" cy="581300"/>
          </a:xfrm>
        </p:spPr>
        <p:txBody>
          <a:bodyPr/>
          <a:lstStyle/>
          <a:p>
            <a:r>
              <a:rPr lang="fr-FR" b="1" dirty="0"/>
              <a:t>Inetum AS Sud-Ouest </a:t>
            </a:r>
            <a:r>
              <a:rPr lang="fr-FR" dirty="0"/>
              <a:t>(Application Services) : pôles d’activités diverses</a:t>
            </a:r>
          </a:p>
        </p:txBody>
      </p:sp>
      <p:pic>
        <p:nvPicPr>
          <p:cNvPr id="5" name="Image 4">
            <a:extLst>
              <a:ext uri="{FF2B5EF4-FFF2-40B4-BE49-F238E27FC236}">
                <a16:creationId xmlns:a16="http://schemas.microsoft.com/office/drawing/2014/main" id="{B98193E7-8C36-6F98-4558-69FBEAABA6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08" y="2317986"/>
            <a:ext cx="4916892" cy="3842312"/>
          </a:xfrm>
          <a:prstGeom prst="rect">
            <a:avLst/>
          </a:prstGeom>
        </p:spPr>
      </p:pic>
      <p:sp>
        <p:nvSpPr>
          <p:cNvPr id="6" name="Rectangle 2">
            <a:extLst>
              <a:ext uri="{FF2B5EF4-FFF2-40B4-BE49-F238E27FC236}">
                <a16:creationId xmlns:a16="http://schemas.microsoft.com/office/drawing/2014/main" id="{357ACE25-BA22-E14D-0B28-56D30BEB407E}"/>
              </a:ext>
            </a:extLst>
          </p:cNvPr>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8" name="Espace réservé du texte 3">
            <a:extLst>
              <a:ext uri="{FF2B5EF4-FFF2-40B4-BE49-F238E27FC236}">
                <a16:creationId xmlns:a16="http://schemas.microsoft.com/office/drawing/2014/main" id="{BAD4B7D4-7E5E-24E2-AB88-F6F195879C96}"/>
              </a:ext>
            </a:extLst>
          </p:cNvPr>
          <p:cNvSpPr txBox="1">
            <a:spLocks/>
          </p:cNvSpPr>
          <p:nvPr/>
        </p:nvSpPr>
        <p:spPr>
          <a:xfrm>
            <a:off x="5316737" y="1314710"/>
            <a:ext cx="4039791" cy="373331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b="1" dirty="0"/>
              <a:t>Partenariats</a:t>
            </a:r>
            <a:r>
              <a:rPr lang="fr-FR" dirty="0"/>
              <a:t> avec différents </a:t>
            </a:r>
            <a:r>
              <a:rPr lang="fr-FR" b="1" dirty="0"/>
              <a:t>entreprises</a:t>
            </a:r>
            <a:r>
              <a:rPr lang="fr-FR" dirty="0"/>
              <a:t> et </a:t>
            </a:r>
            <a:r>
              <a:rPr lang="fr-FR" b="1" dirty="0"/>
              <a:t>acteurs publics </a:t>
            </a:r>
            <a:r>
              <a:rPr lang="fr-FR" dirty="0"/>
              <a:t>:</a:t>
            </a:r>
          </a:p>
          <a:p>
            <a:pPr marL="285750" indent="-285750">
              <a:buFont typeface="Arial" panose="020B0604020202020204" pitchFamily="34" charset="0"/>
              <a:buChar char="•"/>
            </a:pPr>
            <a:r>
              <a:rPr lang="fr-FR" dirty="0"/>
              <a:t>Ministère de la Justice français</a:t>
            </a:r>
          </a:p>
          <a:p>
            <a:pPr marL="285750" indent="-285750">
              <a:buFont typeface="Arial" panose="020B0604020202020204" pitchFamily="34" charset="0"/>
              <a:buChar char="•"/>
            </a:pPr>
            <a:r>
              <a:rPr lang="fr-FR" dirty="0"/>
              <a:t>Airbus </a:t>
            </a:r>
          </a:p>
          <a:p>
            <a:pPr marL="285750" indent="-285750">
              <a:buFont typeface="Arial" panose="020B0604020202020204" pitchFamily="34" charset="0"/>
              <a:buChar char="•"/>
            </a:pPr>
            <a:r>
              <a:rPr lang="fr-FR" dirty="0"/>
              <a:t>Orange</a:t>
            </a:r>
          </a:p>
          <a:p>
            <a:pPr marL="285750" indent="-285750">
              <a:buFont typeface="Arial" panose="020B0604020202020204" pitchFamily="34" charset="0"/>
              <a:buChar char="•"/>
            </a:pPr>
            <a:r>
              <a:rPr lang="fr-FR" dirty="0"/>
              <a:t>Rolls Royce en Europe</a:t>
            </a:r>
          </a:p>
          <a:p>
            <a:pPr marL="285750" indent="-285750">
              <a:buFont typeface="Arial" panose="020B0604020202020204" pitchFamily="34" charset="0"/>
              <a:buChar char="•"/>
            </a:pPr>
            <a:r>
              <a:rPr lang="fr-FR" dirty="0"/>
              <a:t>Auchan</a:t>
            </a:r>
          </a:p>
          <a:p>
            <a:pPr marL="285750" indent="-285750">
              <a:buFont typeface="Arial" panose="020B0604020202020204" pitchFamily="34" charset="0"/>
              <a:buChar char="•"/>
            </a:pPr>
            <a:r>
              <a:rPr lang="fr-FR" dirty="0"/>
              <a:t>Ville de Madrid</a:t>
            </a:r>
          </a:p>
          <a:p>
            <a:pPr marL="285750" indent="-285750">
              <a:buFont typeface="Arial" panose="020B0604020202020204" pitchFamily="34" charset="0"/>
              <a:buChar char="•"/>
            </a:pPr>
            <a:r>
              <a:rPr lang="fr-FR" dirty="0"/>
              <a:t>EDF</a:t>
            </a:r>
          </a:p>
          <a:p>
            <a:pPr marL="285750" indent="-285750">
              <a:buFont typeface="Arial" panose="020B0604020202020204" pitchFamily="34" charset="0"/>
              <a:buChar char="•"/>
            </a:pPr>
            <a:r>
              <a:rPr lang="fr-FR" dirty="0"/>
              <a:t>…</a:t>
            </a:r>
          </a:p>
          <a:p>
            <a:endParaRPr lang="fr-FR" dirty="0"/>
          </a:p>
        </p:txBody>
      </p:sp>
    </p:spTree>
    <p:extLst>
      <p:ext uri="{BB962C8B-B14F-4D97-AF65-F5344CB8AC3E}">
        <p14:creationId xmlns:p14="http://schemas.microsoft.com/office/powerpoint/2010/main" val="38637981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95A500-EDFB-9927-464D-4B4F01F26DCE}"/>
              </a:ext>
            </a:extLst>
          </p:cNvPr>
          <p:cNvSpPr>
            <a:spLocks noGrp="1"/>
          </p:cNvSpPr>
          <p:nvPr>
            <p:ph type="ctrTitle"/>
          </p:nvPr>
        </p:nvSpPr>
        <p:spPr/>
        <p:txBody>
          <a:bodyPr/>
          <a:lstStyle/>
          <a:p>
            <a:r>
              <a:rPr lang="fr-FR" dirty="0"/>
              <a:t>PR7 : Plan-list-component.html</a:t>
            </a:r>
          </a:p>
        </p:txBody>
      </p:sp>
      <p:pic>
        <p:nvPicPr>
          <p:cNvPr id="5" name="Image 4">
            <a:extLst>
              <a:ext uri="{FF2B5EF4-FFF2-40B4-BE49-F238E27FC236}">
                <a16:creationId xmlns:a16="http://schemas.microsoft.com/office/drawing/2014/main" id="{B859E3D6-5E14-5801-5E5C-EC288383C6CA}"/>
              </a:ext>
            </a:extLst>
          </p:cNvPr>
          <p:cNvPicPr>
            <a:picLocks noChangeAspect="1"/>
          </p:cNvPicPr>
          <p:nvPr/>
        </p:nvPicPr>
        <p:blipFill>
          <a:blip r:embed="rId3"/>
          <a:stretch>
            <a:fillRect/>
          </a:stretch>
        </p:blipFill>
        <p:spPr>
          <a:xfrm>
            <a:off x="0" y="4043683"/>
            <a:ext cx="9906000" cy="2116615"/>
          </a:xfrm>
          <a:prstGeom prst="rect">
            <a:avLst/>
          </a:prstGeom>
        </p:spPr>
      </p:pic>
      <p:pic>
        <p:nvPicPr>
          <p:cNvPr id="7" name="Image 6">
            <a:extLst>
              <a:ext uri="{FF2B5EF4-FFF2-40B4-BE49-F238E27FC236}">
                <a16:creationId xmlns:a16="http://schemas.microsoft.com/office/drawing/2014/main" id="{FBE51663-483E-EE5C-8B04-EF2E00A2CB9B}"/>
              </a:ext>
            </a:extLst>
          </p:cNvPr>
          <p:cNvPicPr>
            <a:picLocks noChangeAspect="1"/>
          </p:cNvPicPr>
          <p:nvPr/>
        </p:nvPicPr>
        <p:blipFill>
          <a:blip r:embed="rId4"/>
          <a:stretch>
            <a:fillRect/>
          </a:stretch>
        </p:blipFill>
        <p:spPr>
          <a:xfrm>
            <a:off x="185370" y="2031895"/>
            <a:ext cx="5268060" cy="1171739"/>
          </a:xfrm>
          <a:prstGeom prst="rect">
            <a:avLst/>
          </a:prstGeom>
        </p:spPr>
      </p:pic>
      <p:sp>
        <p:nvSpPr>
          <p:cNvPr id="8" name="ZoneTexte 7">
            <a:extLst>
              <a:ext uri="{FF2B5EF4-FFF2-40B4-BE49-F238E27FC236}">
                <a16:creationId xmlns:a16="http://schemas.microsoft.com/office/drawing/2014/main" id="{A7B011B4-D1CF-A22C-1F97-E0EB40109709}"/>
              </a:ext>
            </a:extLst>
          </p:cNvPr>
          <p:cNvSpPr txBox="1"/>
          <p:nvPr/>
        </p:nvSpPr>
        <p:spPr>
          <a:xfrm>
            <a:off x="117673" y="1368904"/>
            <a:ext cx="3657600" cy="830997"/>
          </a:xfrm>
          <a:prstGeom prst="rect">
            <a:avLst/>
          </a:prstGeom>
          <a:noFill/>
        </p:spPr>
        <p:txBody>
          <a:bodyPr wrap="square" rtlCol="0">
            <a:spAutoFit/>
          </a:bodyPr>
          <a:lstStyle/>
          <a:p>
            <a:r>
              <a:rPr lang="fr-FR" sz="1200" b="1" dirty="0" err="1"/>
              <a:t>fr.json</a:t>
            </a:r>
            <a:endParaRPr lang="fr-FR" sz="1200" b="1" dirty="0"/>
          </a:p>
          <a:p>
            <a:r>
              <a:rPr lang="fr-FR" sz="1200" b="1" dirty="0"/>
              <a:t>C’est le fichier </a:t>
            </a:r>
            <a:r>
              <a:rPr lang="fr-FR" sz="1200" b="1" dirty="0" err="1"/>
              <a:t>json</a:t>
            </a:r>
            <a:r>
              <a:rPr lang="fr-FR" sz="1200" b="1" dirty="0"/>
              <a:t> dans le dossier i18n qu’on se sert pour prendre en compte l’internationalisation de l’application. </a:t>
            </a:r>
            <a:endParaRPr lang="fr-FR" sz="1600" dirty="0"/>
          </a:p>
        </p:txBody>
      </p:sp>
      <p:sp>
        <p:nvSpPr>
          <p:cNvPr id="11" name="ZoneTexte 10">
            <a:extLst>
              <a:ext uri="{FF2B5EF4-FFF2-40B4-BE49-F238E27FC236}">
                <a16:creationId xmlns:a16="http://schemas.microsoft.com/office/drawing/2014/main" id="{1E5F3EB9-65BA-E279-8992-705AAF8F1BC1}"/>
              </a:ext>
            </a:extLst>
          </p:cNvPr>
          <p:cNvSpPr txBox="1"/>
          <p:nvPr/>
        </p:nvSpPr>
        <p:spPr>
          <a:xfrm>
            <a:off x="5727701" y="5296280"/>
            <a:ext cx="4178299" cy="276999"/>
          </a:xfrm>
          <a:prstGeom prst="rect">
            <a:avLst/>
          </a:prstGeom>
          <a:noFill/>
        </p:spPr>
        <p:txBody>
          <a:bodyPr wrap="square" rtlCol="0">
            <a:spAutoFit/>
          </a:bodyPr>
          <a:lstStyle/>
          <a:p>
            <a:r>
              <a:rPr lang="fr-FR" sz="1200" b="1" dirty="0"/>
              <a:t>Event binding sur click appelle exportPlans ()</a:t>
            </a:r>
          </a:p>
        </p:txBody>
      </p:sp>
      <p:cxnSp>
        <p:nvCxnSpPr>
          <p:cNvPr id="12" name="Connecteur droit avec flèche 11">
            <a:extLst>
              <a:ext uri="{FF2B5EF4-FFF2-40B4-BE49-F238E27FC236}">
                <a16:creationId xmlns:a16="http://schemas.microsoft.com/office/drawing/2014/main" id="{A6127DCD-D2B5-2E17-F219-3DDA0FE3B12A}"/>
              </a:ext>
            </a:extLst>
          </p:cNvPr>
          <p:cNvCxnSpPr>
            <a:cxnSpLocks/>
          </p:cNvCxnSpPr>
          <p:nvPr/>
        </p:nvCxnSpPr>
        <p:spPr>
          <a:xfrm>
            <a:off x="7410450" y="3674351"/>
            <a:ext cx="571500" cy="12192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ZoneTexte 14">
            <a:extLst>
              <a:ext uri="{FF2B5EF4-FFF2-40B4-BE49-F238E27FC236}">
                <a16:creationId xmlns:a16="http://schemas.microsoft.com/office/drawing/2014/main" id="{8C948182-00D8-F0DB-F347-C79615E0E8F2}"/>
              </a:ext>
            </a:extLst>
          </p:cNvPr>
          <p:cNvSpPr txBox="1"/>
          <p:nvPr/>
        </p:nvSpPr>
        <p:spPr>
          <a:xfrm>
            <a:off x="5521127" y="2926635"/>
            <a:ext cx="3657600" cy="646331"/>
          </a:xfrm>
          <a:prstGeom prst="rect">
            <a:avLst/>
          </a:prstGeom>
          <a:noFill/>
        </p:spPr>
        <p:txBody>
          <a:bodyPr wrap="square" rtlCol="0">
            <a:spAutoFit/>
          </a:bodyPr>
          <a:lstStyle/>
          <a:p>
            <a:r>
              <a:rPr lang="fr-FR" sz="1200" b="1" dirty="0" err="1"/>
              <a:t>Properties</a:t>
            </a:r>
            <a:r>
              <a:rPr lang="fr-FR" sz="1200" b="1" dirty="0"/>
              <a:t> binding de la propriété « </a:t>
            </a:r>
            <a:r>
              <a:rPr lang="fr-FR" sz="1200" b="1" dirty="0" err="1"/>
              <a:t>disabled</a:t>
            </a:r>
            <a:r>
              <a:rPr lang="fr-FR" sz="1200" b="1" dirty="0"/>
              <a:t> » du bouton avec le </a:t>
            </a:r>
            <a:r>
              <a:rPr lang="fr-FR" sz="1200" b="1" dirty="0" err="1"/>
              <a:t>boolean</a:t>
            </a:r>
            <a:r>
              <a:rPr lang="fr-FR" sz="1200" b="1" dirty="0"/>
              <a:t> « </a:t>
            </a:r>
            <a:r>
              <a:rPr lang="fr-FR" sz="1200" b="1" dirty="0" err="1"/>
              <a:t>isExportDownloading</a:t>
            </a:r>
            <a:r>
              <a:rPr lang="fr-FR" sz="1200" b="1" dirty="0"/>
              <a:t> »</a:t>
            </a:r>
          </a:p>
        </p:txBody>
      </p:sp>
      <p:cxnSp>
        <p:nvCxnSpPr>
          <p:cNvPr id="16" name="Connecteur droit avec flèche 15">
            <a:extLst>
              <a:ext uri="{FF2B5EF4-FFF2-40B4-BE49-F238E27FC236}">
                <a16:creationId xmlns:a16="http://schemas.microsoft.com/office/drawing/2014/main" id="{A2EE329B-DB0E-37DF-507F-CADBF71D4E40}"/>
              </a:ext>
            </a:extLst>
          </p:cNvPr>
          <p:cNvCxnSpPr>
            <a:cxnSpLocks/>
            <a:stCxn id="11" idx="1"/>
          </p:cNvCxnSpPr>
          <p:nvPr/>
        </p:nvCxnSpPr>
        <p:spPr>
          <a:xfrm flipH="1" flipV="1">
            <a:off x="1930400" y="5226050"/>
            <a:ext cx="3797301" cy="2087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896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8D0011-D7F1-81F7-936D-D660D269E60D}"/>
              </a:ext>
            </a:extLst>
          </p:cNvPr>
          <p:cNvSpPr>
            <a:spLocks noGrp="1"/>
          </p:cNvSpPr>
          <p:nvPr>
            <p:ph type="ctrTitle"/>
          </p:nvPr>
        </p:nvSpPr>
        <p:spPr/>
        <p:txBody>
          <a:bodyPr/>
          <a:lstStyle/>
          <a:p>
            <a:r>
              <a:rPr lang="fr-FR" dirty="0"/>
              <a:t>PR7 : Extraction des dispositifs</a:t>
            </a:r>
          </a:p>
        </p:txBody>
      </p:sp>
      <p:pic>
        <p:nvPicPr>
          <p:cNvPr id="5" name="Image 4">
            <a:extLst>
              <a:ext uri="{FF2B5EF4-FFF2-40B4-BE49-F238E27FC236}">
                <a16:creationId xmlns:a16="http://schemas.microsoft.com/office/drawing/2014/main" id="{D25AF2CF-9BD6-848B-3DB0-E9758BD4C0A6}"/>
              </a:ext>
            </a:extLst>
          </p:cNvPr>
          <p:cNvPicPr>
            <a:picLocks noChangeAspect="1"/>
          </p:cNvPicPr>
          <p:nvPr/>
        </p:nvPicPr>
        <p:blipFill>
          <a:blip r:embed="rId3"/>
          <a:stretch>
            <a:fillRect/>
          </a:stretch>
        </p:blipFill>
        <p:spPr>
          <a:xfrm>
            <a:off x="284182" y="1223911"/>
            <a:ext cx="5224624" cy="4681584"/>
          </a:xfrm>
          <a:prstGeom prst="rect">
            <a:avLst/>
          </a:prstGeom>
        </p:spPr>
      </p:pic>
      <p:pic>
        <p:nvPicPr>
          <p:cNvPr id="8" name="Image 7">
            <a:extLst>
              <a:ext uri="{FF2B5EF4-FFF2-40B4-BE49-F238E27FC236}">
                <a16:creationId xmlns:a16="http://schemas.microsoft.com/office/drawing/2014/main" id="{45C393A1-8085-B339-9829-A946FFCF81D6}"/>
              </a:ext>
            </a:extLst>
          </p:cNvPr>
          <p:cNvPicPr>
            <a:picLocks noChangeAspect="1"/>
          </p:cNvPicPr>
          <p:nvPr/>
        </p:nvPicPr>
        <p:blipFill>
          <a:blip r:embed="rId4"/>
          <a:stretch>
            <a:fillRect/>
          </a:stretch>
        </p:blipFill>
        <p:spPr>
          <a:xfrm>
            <a:off x="6994184" y="2092305"/>
            <a:ext cx="1181265" cy="209579"/>
          </a:xfrm>
          <a:prstGeom prst="rect">
            <a:avLst/>
          </a:prstGeom>
        </p:spPr>
      </p:pic>
      <p:pic>
        <p:nvPicPr>
          <p:cNvPr id="12" name="Image 11">
            <a:extLst>
              <a:ext uri="{FF2B5EF4-FFF2-40B4-BE49-F238E27FC236}">
                <a16:creationId xmlns:a16="http://schemas.microsoft.com/office/drawing/2014/main" id="{ED284C5B-66E2-BE5B-05F8-8BCD98E79E3D}"/>
              </a:ext>
            </a:extLst>
          </p:cNvPr>
          <p:cNvPicPr>
            <a:picLocks noChangeAspect="1"/>
          </p:cNvPicPr>
          <p:nvPr/>
        </p:nvPicPr>
        <p:blipFill>
          <a:blip r:embed="rId5"/>
          <a:stretch>
            <a:fillRect/>
          </a:stretch>
        </p:blipFill>
        <p:spPr>
          <a:xfrm>
            <a:off x="6546850" y="3390907"/>
            <a:ext cx="2165350" cy="1018406"/>
          </a:xfrm>
          <a:prstGeom prst="rect">
            <a:avLst/>
          </a:prstGeom>
        </p:spPr>
      </p:pic>
      <p:pic>
        <p:nvPicPr>
          <p:cNvPr id="14" name="Image 13">
            <a:extLst>
              <a:ext uri="{FF2B5EF4-FFF2-40B4-BE49-F238E27FC236}">
                <a16:creationId xmlns:a16="http://schemas.microsoft.com/office/drawing/2014/main" id="{495A161F-C55E-E5AF-B81B-C016CD8182A0}"/>
              </a:ext>
            </a:extLst>
          </p:cNvPr>
          <p:cNvPicPr>
            <a:picLocks noChangeAspect="1"/>
          </p:cNvPicPr>
          <p:nvPr/>
        </p:nvPicPr>
        <p:blipFill>
          <a:blip r:embed="rId6"/>
          <a:stretch>
            <a:fillRect/>
          </a:stretch>
        </p:blipFill>
        <p:spPr>
          <a:xfrm>
            <a:off x="6578601" y="1682730"/>
            <a:ext cx="1352550" cy="409575"/>
          </a:xfrm>
          <a:prstGeom prst="rect">
            <a:avLst/>
          </a:prstGeom>
        </p:spPr>
      </p:pic>
      <p:pic>
        <p:nvPicPr>
          <p:cNvPr id="16" name="Image 15">
            <a:extLst>
              <a:ext uri="{FF2B5EF4-FFF2-40B4-BE49-F238E27FC236}">
                <a16:creationId xmlns:a16="http://schemas.microsoft.com/office/drawing/2014/main" id="{A3EB7EF8-6AA9-EC87-A974-C5790EFA8DB6}"/>
              </a:ext>
            </a:extLst>
          </p:cNvPr>
          <p:cNvPicPr>
            <a:picLocks noChangeAspect="1"/>
          </p:cNvPicPr>
          <p:nvPr/>
        </p:nvPicPr>
        <p:blipFill>
          <a:blip r:embed="rId7"/>
          <a:stretch>
            <a:fillRect/>
          </a:stretch>
        </p:blipFill>
        <p:spPr>
          <a:xfrm>
            <a:off x="6578601" y="2343162"/>
            <a:ext cx="1619250" cy="990600"/>
          </a:xfrm>
          <a:prstGeom prst="rect">
            <a:avLst/>
          </a:prstGeom>
        </p:spPr>
      </p:pic>
      <p:pic>
        <p:nvPicPr>
          <p:cNvPr id="18" name="Image 17">
            <a:extLst>
              <a:ext uri="{FF2B5EF4-FFF2-40B4-BE49-F238E27FC236}">
                <a16:creationId xmlns:a16="http://schemas.microsoft.com/office/drawing/2014/main" id="{1533385E-6122-4BBA-8304-37D917590515}"/>
              </a:ext>
            </a:extLst>
          </p:cNvPr>
          <p:cNvPicPr>
            <a:picLocks noChangeAspect="1"/>
          </p:cNvPicPr>
          <p:nvPr/>
        </p:nvPicPr>
        <p:blipFill>
          <a:blip r:embed="rId8"/>
          <a:stretch>
            <a:fillRect/>
          </a:stretch>
        </p:blipFill>
        <p:spPr>
          <a:xfrm>
            <a:off x="6581562" y="4159208"/>
            <a:ext cx="1533739" cy="819264"/>
          </a:xfrm>
          <a:prstGeom prst="rect">
            <a:avLst/>
          </a:prstGeom>
        </p:spPr>
      </p:pic>
      <p:pic>
        <p:nvPicPr>
          <p:cNvPr id="20" name="Image 19">
            <a:extLst>
              <a:ext uri="{FF2B5EF4-FFF2-40B4-BE49-F238E27FC236}">
                <a16:creationId xmlns:a16="http://schemas.microsoft.com/office/drawing/2014/main" id="{FBBDF846-F3B6-8889-F089-6CE3AA5BF807}"/>
              </a:ext>
            </a:extLst>
          </p:cNvPr>
          <p:cNvPicPr>
            <a:picLocks noChangeAspect="1"/>
          </p:cNvPicPr>
          <p:nvPr/>
        </p:nvPicPr>
        <p:blipFill>
          <a:blip r:embed="rId9"/>
          <a:stretch>
            <a:fillRect/>
          </a:stretch>
        </p:blipFill>
        <p:spPr>
          <a:xfrm>
            <a:off x="6766374" y="4978472"/>
            <a:ext cx="1571625" cy="638175"/>
          </a:xfrm>
          <a:prstGeom prst="rect">
            <a:avLst/>
          </a:prstGeom>
        </p:spPr>
      </p:pic>
      <p:pic>
        <p:nvPicPr>
          <p:cNvPr id="22" name="Image 21">
            <a:extLst>
              <a:ext uri="{FF2B5EF4-FFF2-40B4-BE49-F238E27FC236}">
                <a16:creationId xmlns:a16="http://schemas.microsoft.com/office/drawing/2014/main" id="{AD51824E-57F7-E219-0BE4-1DEF04E9B15C}"/>
              </a:ext>
            </a:extLst>
          </p:cNvPr>
          <p:cNvPicPr>
            <a:picLocks noChangeAspect="1"/>
          </p:cNvPicPr>
          <p:nvPr/>
        </p:nvPicPr>
        <p:blipFill>
          <a:blip r:embed="rId10"/>
          <a:stretch>
            <a:fillRect/>
          </a:stretch>
        </p:blipFill>
        <p:spPr>
          <a:xfrm>
            <a:off x="6581562" y="5603947"/>
            <a:ext cx="1629002" cy="743054"/>
          </a:xfrm>
          <a:prstGeom prst="rect">
            <a:avLst/>
          </a:prstGeom>
        </p:spPr>
      </p:pic>
    </p:spTree>
    <p:extLst>
      <p:ext uri="{BB962C8B-B14F-4D97-AF65-F5344CB8AC3E}">
        <p14:creationId xmlns:p14="http://schemas.microsoft.com/office/powerpoint/2010/main" val="26444654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7D3D31-99DC-81BF-A43C-DECAFED021A8}"/>
              </a:ext>
            </a:extLst>
          </p:cNvPr>
          <p:cNvSpPr>
            <a:spLocks noGrp="1"/>
          </p:cNvSpPr>
          <p:nvPr>
            <p:ph type="ctrTitle"/>
          </p:nvPr>
        </p:nvSpPr>
        <p:spPr/>
        <p:txBody>
          <a:bodyPr/>
          <a:lstStyle/>
          <a:p>
            <a:r>
              <a:rPr lang="fr-FR" dirty="0" err="1"/>
              <a:t>PlanController</a:t>
            </a:r>
            <a:endParaRPr lang="fr-FR" dirty="0"/>
          </a:p>
        </p:txBody>
      </p:sp>
      <p:sp>
        <p:nvSpPr>
          <p:cNvPr id="3" name="Espace réservé du texte 2">
            <a:extLst>
              <a:ext uri="{FF2B5EF4-FFF2-40B4-BE49-F238E27FC236}">
                <a16:creationId xmlns:a16="http://schemas.microsoft.com/office/drawing/2014/main" id="{CA8D272B-2A04-FEED-D11A-A5A96CBEE4D2}"/>
              </a:ext>
            </a:extLst>
          </p:cNvPr>
          <p:cNvSpPr>
            <a:spLocks noGrp="1"/>
          </p:cNvSpPr>
          <p:nvPr>
            <p:ph type="body" sz="quarter" idx="14"/>
          </p:nvPr>
        </p:nvSpPr>
        <p:spPr>
          <a:xfrm>
            <a:off x="124023" y="2495133"/>
            <a:ext cx="3806627" cy="588626"/>
          </a:xfrm>
        </p:spPr>
        <p:txBody>
          <a:bodyPr/>
          <a:lstStyle/>
          <a:p>
            <a:r>
              <a:rPr lang="fr-FR" sz="1200" b="1" dirty="0"/>
              <a:t>mappe les requêtes HTTP aux méthodes de gestionnaire des contrôleurs MVC et REST.</a:t>
            </a:r>
          </a:p>
        </p:txBody>
      </p:sp>
      <p:pic>
        <p:nvPicPr>
          <p:cNvPr id="5" name="Image 4">
            <a:extLst>
              <a:ext uri="{FF2B5EF4-FFF2-40B4-BE49-F238E27FC236}">
                <a16:creationId xmlns:a16="http://schemas.microsoft.com/office/drawing/2014/main" id="{24B418AD-A0A8-22AA-B6BC-1C1A7A55439B}"/>
              </a:ext>
            </a:extLst>
          </p:cNvPr>
          <p:cNvPicPr>
            <a:picLocks noChangeAspect="1"/>
          </p:cNvPicPr>
          <p:nvPr/>
        </p:nvPicPr>
        <p:blipFill>
          <a:blip r:embed="rId2"/>
          <a:stretch>
            <a:fillRect/>
          </a:stretch>
        </p:blipFill>
        <p:spPr>
          <a:xfrm>
            <a:off x="0" y="3263574"/>
            <a:ext cx="9906000" cy="2434808"/>
          </a:xfrm>
          <a:prstGeom prst="rect">
            <a:avLst/>
          </a:prstGeom>
        </p:spPr>
      </p:pic>
      <p:cxnSp>
        <p:nvCxnSpPr>
          <p:cNvPr id="6" name="Connecteur droit avec flèche 5">
            <a:extLst>
              <a:ext uri="{FF2B5EF4-FFF2-40B4-BE49-F238E27FC236}">
                <a16:creationId xmlns:a16="http://schemas.microsoft.com/office/drawing/2014/main" id="{FF006FDC-DE87-D5A9-72DC-F459DB7935BA}"/>
              </a:ext>
            </a:extLst>
          </p:cNvPr>
          <p:cNvCxnSpPr>
            <a:cxnSpLocks/>
          </p:cNvCxnSpPr>
          <p:nvPr/>
        </p:nvCxnSpPr>
        <p:spPr>
          <a:xfrm flipH="1">
            <a:off x="1085850" y="3028950"/>
            <a:ext cx="508000" cy="23462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ZoneTexte 9">
            <a:extLst>
              <a:ext uri="{FF2B5EF4-FFF2-40B4-BE49-F238E27FC236}">
                <a16:creationId xmlns:a16="http://schemas.microsoft.com/office/drawing/2014/main" id="{22C7A630-3C67-3B1E-DB20-C9FA74A61DD5}"/>
              </a:ext>
            </a:extLst>
          </p:cNvPr>
          <p:cNvSpPr txBox="1"/>
          <p:nvPr/>
        </p:nvSpPr>
        <p:spPr>
          <a:xfrm>
            <a:off x="184150" y="1594940"/>
            <a:ext cx="8185150" cy="369332"/>
          </a:xfrm>
          <a:prstGeom prst="rect">
            <a:avLst/>
          </a:prstGeom>
          <a:noFill/>
        </p:spPr>
        <p:txBody>
          <a:bodyPr wrap="square">
            <a:spAutoFit/>
          </a:bodyPr>
          <a:lstStyle/>
          <a:p>
            <a:r>
              <a:rPr lang="fr-FR" sz="1800" b="0" i="0" u="none" strike="noStrike" baseline="0" dirty="0">
                <a:solidFill>
                  <a:srgbClr val="974705"/>
                </a:solidFill>
                <a:latin typeface="Calibri" panose="020F0502020204030204" pitchFamily="34" charset="0"/>
              </a:rPr>
              <a:t>exportPlan () </a:t>
            </a:r>
            <a:r>
              <a:rPr lang="fr-FR" sz="1800" b="0" i="0" u="none" strike="noStrike" baseline="0" dirty="0">
                <a:solidFill>
                  <a:srgbClr val="212C49"/>
                </a:solidFill>
                <a:latin typeface="Calibri" panose="020F0502020204030204" pitchFamily="34" charset="0"/>
              </a:rPr>
              <a:t>qui sera appelé suite à une requête GET à l’Endpoint </a:t>
            </a:r>
            <a:r>
              <a:rPr lang="fr-FR" sz="1800" b="0" i="0" u="none" strike="noStrike" baseline="0" dirty="0">
                <a:solidFill>
                  <a:srgbClr val="006FC0"/>
                </a:solidFill>
                <a:latin typeface="Calibri" panose="020F0502020204030204" pitchFamily="34" charset="0"/>
              </a:rPr>
              <a:t>dispositifs/export </a:t>
            </a:r>
            <a:endParaRPr lang="fr-FR" dirty="0"/>
          </a:p>
        </p:txBody>
      </p:sp>
    </p:spTree>
    <p:extLst>
      <p:ext uri="{BB962C8B-B14F-4D97-AF65-F5344CB8AC3E}">
        <p14:creationId xmlns:p14="http://schemas.microsoft.com/office/powerpoint/2010/main" val="240279303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968455-89D5-A27B-0886-20F93C449F4B}"/>
              </a:ext>
            </a:extLst>
          </p:cNvPr>
          <p:cNvSpPr>
            <a:spLocks noGrp="1"/>
          </p:cNvSpPr>
          <p:nvPr>
            <p:ph type="ctrTitle"/>
          </p:nvPr>
        </p:nvSpPr>
        <p:spPr/>
        <p:txBody>
          <a:bodyPr/>
          <a:lstStyle/>
          <a:p>
            <a:r>
              <a:rPr lang="fr-FR" dirty="0" err="1"/>
              <a:t>AppAccessControl</a:t>
            </a:r>
            <a:endParaRPr lang="fr-FR" dirty="0"/>
          </a:p>
        </p:txBody>
      </p:sp>
      <p:sp>
        <p:nvSpPr>
          <p:cNvPr id="3" name="Espace réservé du texte 2">
            <a:extLst>
              <a:ext uri="{FF2B5EF4-FFF2-40B4-BE49-F238E27FC236}">
                <a16:creationId xmlns:a16="http://schemas.microsoft.com/office/drawing/2014/main" id="{5C1F063E-3B15-397B-4914-4BA49FB8FC23}"/>
              </a:ext>
            </a:extLst>
          </p:cNvPr>
          <p:cNvSpPr>
            <a:spLocks noGrp="1"/>
          </p:cNvSpPr>
          <p:nvPr>
            <p:ph type="body" sz="quarter" idx="14"/>
          </p:nvPr>
        </p:nvSpPr>
        <p:spPr>
          <a:xfrm>
            <a:off x="549473" y="1989474"/>
            <a:ext cx="8694148" cy="700435"/>
          </a:xfrm>
        </p:spPr>
        <p:txBody>
          <a:bodyPr/>
          <a:lstStyle/>
          <a:p>
            <a:r>
              <a:rPr lang="fr-FR" sz="1800" b="0" i="0" u="none" strike="noStrike" baseline="0" dirty="0">
                <a:solidFill>
                  <a:srgbClr val="212C49"/>
                </a:solidFill>
                <a:latin typeface="Calibri" panose="020F0502020204030204" pitchFamily="34" charset="0"/>
              </a:rPr>
              <a:t>Puis j’ai donné accès à ce Endpoint aux utilisateurs ayant le rôle Admin et faisant une requête GET en utilisant la classe </a:t>
            </a:r>
            <a:r>
              <a:rPr lang="fr-FR" sz="1800" b="0" i="0" u="none" strike="noStrike" baseline="0" dirty="0" err="1">
                <a:solidFill>
                  <a:srgbClr val="974705"/>
                </a:solidFill>
                <a:latin typeface="Calibri" panose="020F0502020204030204" pitchFamily="34" charset="0"/>
              </a:rPr>
              <a:t>AccessControl</a:t>
            </a:r>
            <a:r>
              <a:rPr lang="fr-FR" sz="1800" b="0" i="0" u="none" strike="noStrike" baseline="0" dirty="0">
                <a:solidFill>
                  <a:srgbClr val="974705"/>
                </a:solidFill>
                <a:latin typeface="Calibri" panose="020F0502020204030204" pitchFamily="34" charset="0"/>
              </a:rPr>
              <a:t> </a:t>
            </a:r>
            <a:r>
              <a:rPr lang="fr-FR" sz="1800" b="0" i="0" u="none" strike="noStrike" baseline="0" dirty="0">
                <a:solidFill>
                  <a:srgbClr val="212C49"/>
                </a:solidFill>
                <a:latin typeface="Calibri" panose="020F0502020204030204" pitchFamily="34" charset="0"/>
              </a:rPr>
              <a:t>dédiée. </a:t>
            </a:r>
            <a:endParaRPr lang="fr-FR" dirty="0"/>
          </a:p>
        </p:txBody>
      </p:sp>
      <p:pic>
        <p:nvPicPr>
          <p:cNvPr id="5" name="Image 4">
            <a:extLst>
              <a:ext uri="{FF2B5EF4-FFF2-40B4-BE49-F238E27FC236}">
                <a16:creationId xmlns:a16="http://schemas.microsoft.com/office/drawing/2014/main" id="{2714828B-C038-790B-AA0F-B8A4D996853B}"/>
              </a:ext>
            </a:extLst>
          </p:cNvPr>
          <p:cNvPicPr>
            <a:picLocks noChangeAspect="1"/>
          </p:cNvPicPr>
          <p:nvPr/>
        </p:nvPicPr>
        <p:blipFill>
          <a:blip r:embed="rId2"/>
          <a:stretch>
            <a:fillRect/>
          </a:stretch>
        </p:blipFill>
        <p:spPr>
          <a:xfrm>
            <a:off x="549473" y="3368618"/>
            <a:ext cx="7157884" cy="1199535"/>
          </a:xfrm>
          <a:prstGeom prst="rect">
            <a:avLst/>
          </a:prstGeom>
        </p:spPr>
      </p:pic>
    </p:spTree>
    <p:extLst>
      <p:ext uri="{BB962C8B-B14F-4D97-AF65-F5344CB8AC3E}">
        <p14:creationId xmlns:p14="http://schemas.microsoft.com/office/powerpoint/2010/main" val="196174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AFA45E-606D-C632-62F4-029369BC85B7}"/>
              </a:ext>
            </a:extLst>
          </p:cNvPr>
          <p:cNvSpPr>
            <a:spLocks noGrp="1"/>
          </p:cNvSpPr>
          <p:nvPr>
            <p:ph type="ctrTitle"/>
          </p:nvPr>
        </p:nvSpPr>
        <p:spPr/>
        <p:txBody>
          <a:bodyPr/>
          <a:lstStyle/>
          <a:p>
            <a:r>
              <a:rPr lang="fr-FR" dirty="0"/>
              <a:t>PlanService et PlanServiceImpl</a:t>
            </a:r>
          </a:p>
        </p:txBody>
      </p:sp>
      <p:sp>
        <p:nvSpPr>
          <p:cNvPr id="3" name="Espace réservé du texte 2">
            <a:extLst>
              <a:ext uri="{FF2B5EF4-FFF2-40B4-BE49-F238E27FC236}">
                <a16:creationId xmlns:a16="http://schemas.microsoft.com/office/drawing/2014/main" id="{D41392EB-461F-0297-E4D7-25704EDA40AC}"/>
              </a:ext>
            </a:extLst>
          </p:cNvPr>
          <p:cNvSpPr>
            <a:spLocks noGrp="1"/>
          </p:cNvSpPr>
          <p:nvPr>
            <p:ph type="body" sz="quarter" idx="14"/>
          </p:nvPr>
        </p:nvSpPr>
        <p:spPr>
          <a:xfrm>
            <a:off x="549473" y="1516758"/>
            <a:ext cx="8694148" cy="395736"/>
          </a:xfrm>
        </p:spPr>
        <p:txBody>
          <a:bodyPr/>
          <a:lstStyle/>
          <a:p>
            <a:r>
              <a:rPr lang="fr-FR" sz="1800" b="0" i="0" u="none" strike="noStrike" baseline="0" dirty="0">
                <a:solidFill>
                  <a:srgbClr val="212C49"/>
                </a:solidFill>
                <a:latin typeface="Calibri" panose="020F0502020204030204" pitchFamily="34" charset="0"/>
              </a:rPr>
              <a:t>Ajout de la méthode </a:t>
            </a:r>
            <a:r>
              <a:rPr lang="fr-FR" sz="1800" b="0" i="0" u="none" strike="noStrike" baseline="0" dirty="0">
                <a:solidFill>
                  <a:srgbClr val="974705"/>
                </a:solidFill>
                <a:latin typeface="Calibri" panose="020F0502020204030204" pitchFamily="34" charset="0"/>
              </a:rPr>
              <a:t>findAllPlanForExport () </a:t>
            </a:r>
            <a:r>
              <a:rPr lang="fr-FR" sz="1800" b="0" i="0" u="none" strike="noStrike" baseline="0" dirty="0">
                <a:solidFill>
                  <a:srgbClr val="212C49"/>
                </a:solidFill>
                <a:latin typeface="Calibri" panose="020F0502020204030204" pitchFamily="34" charset="0"/>
              </a:rPr>
              <a:t>dans l’interface puis son implémentation </a:t>
            </a:r>
            <a:endParaRPr lang="fr-FR" dirty="0"/>
          </a:p>
        </p:txBody>
      </p:sp>
      <p:pic>
        <p:nvPicPr>
          <p:cNvPr id="5" name="Image 4">
            <a:extLst>
              <a:ext uri="{FF2B5EF4-FFF2-40B4-BE49-F238E27FC236}">
                <a16:creationId xmlns:a16="http://schemas.microsoft.com/office/drawing/2014/main" id="{A2B956AE-BA11-60DB-D3D3-89D3779FC366}"/>
              </a:ext>
            </a:extLst>
          </p:cNvPr>
          <p:cNvPicPr>
            <a:picLocks noChangeAspect="1"/>
          </p:cNvPicPr>
          <p:nvPr/>
        </p:nvPicPr>
        <p:blipFill>
          <a:blip r:embed="rId2"/>
          <a:stretch>
            <a:fillRect/>
          </a:stretch>
        </p:blipFill>
        <p:spPr>
          <a:xfrm>
            <a:off x="549473" y="2097691"/>
            <a:ext cx="6410632" cy="1366684"/>
          </a:xfrm>
          <a:prstGeom prst="rect">
            <a:avLst/>
          </a:prstGeom>
        </p:spPr>
      </p:pic>
      <p:pic>
        <p:nvPicPr>
          <p:cNvPr id="7" name="Image 6">
            <a:extLst>
              <a:ext uri="{FF2B5EF4-FFF2-40B4-BE49-F238E27FC236}">
                <a16:creationId xmlns:a16="http://schemas.microsoft.com/office/drawing/2014/main" id="{E194AE6C-7AED-3DCE-B513-6D37143E62A4}"/>
              </a:ext>
            </a:extLst>
          </p:cNvPr>
          <p:cNvPicPr>
            <a:picLocks noChangeAspect="1"/>
          </p:cNvPicPr>
          <p:nvPr/>
        </p:nvPicPr>
        <p:blipFill>
          <a:blip r:embed="rId3"/>
          <a:stretch>
            <a:fillRect/>
          </a:stretch>
        </p:blipFill>
        <p:spPr>
          <a:xfrm>
            <a:off x="2820578" y="3561281"/>
            <a:ext cx="5702710" cy="2094271"/>
          </a:xfrm>
          <a:prstGeom prst="rect">
            <a:avLst/>
          </a:prstGeom>
        </p:spPr>
      </p:pic>
      <p:sp>
        <p:nvSpPr>
          <p:cNvPr id="8" name="Espace réservé du texte 2">
            <a:extLst>
              <a:ext uri="{FF2B5EF4-FFF2-40B4-BE49-F238E27FC236}">
                <a16:creationId xmlns:a16="http://schemas.microsoft.com/office/drawing/2014/main" id="{49F23D21-C2F6-4D4A-E26C-29344B550B7F}"/>
              </a:ext>
            </a:extLst>
          </p:cNvPr>
          <p:cNvSpPr txBox="1">
            <a:spLocks/>
          </p:cNvSpPr>
          <p:nvPr/>
        </p:nvSpPr>
        <p:spPr>
          <a:xfrm>
            <a:off x="4716661" y="5811048"/>
            <a:ext cx="3806627" cy="4964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200" b="1" dirty="0"/>
              <a:t>appeler la méthode getAllPlanExport () dans la couche repository</a:t>
            </a:r>
          </a:p>
        </p:txBody>
      </p:sp>
      <p:cxnSp>
        <p:nvCxnSpPr>
          <p:cNvPr id="9" name="Connecteur droit avec flèche 8">
            <a:extLst>
              <a:ext uri="{FF2B5EF4-FFF2-40B4-BE49-F238E27FC236}">
                <a16:creationId xmlns:a16="http://schemas.microsoft.com/office/drawing/2014/main" id="{B74249D9-21CF-18DF-E058-F7033709C2A3}"/>
              </a:ext>
            </a:extLst>
          </p:cNvPr>
          <p:cNvCxnSpPr>
            <a:cxnSpLocks/>
          </p:cNvCxnSpPr>
          <p:nvPr/>
        </p:nvCxnSpPr>
        <p:spPr>
          <a:xfrm flipH="1" flipV="1">
            <a:off x="5080000" y="5416550"/>
            <a:ext cx="144661" cy="4081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88209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04F31C-DE50-A58C-1078-71D2E8C59280}"/>
              </a:ext>
            </a:extLst>
          </p:cNvPr>
          <p:cNvSpPr>
            <a:spLocks noGrp="1"/>
          </p:cNvSpPr>
          <p:nvPr>
            <p:ph type="ctrTitle"/>
          </p:nvPr>
        </p:nvSpPr>
        <p:spPr/>
        <p:txBody>
          <a:bodyPr/>
          <a:lstStyle/>
          <a:p>
            <a:r>
              <a:rPr lang="fr-FR" dirty="0"/>
              <a:t>PlanExportInformation</a:t>
            </a:r>
          </a:p>
        </p:txBody>
      </p:sp>
      <p:sp>
        <p:nvSpPr>
          <p:cNvPr id="3" name="Espace réservé du texte 2">
            <a:extLst>
              <a:ext uri="{FF2B5EF4-FFF2-40B4-BE49-F238E27FC236}">
                <a16:creationId xmlns:a16="http://schemas.microsoft.com/office/drawing/2014/main" id="{4AD15F35-158B-2B0E-25F5-3D9AEF73C3CC}"/>
              </a:ext>
            </a:extLst>
          </p:cNvPr>
          <p:cNvSpPr>
            <a:spLocks noGrp="1"/>
          </p:cNvSpPr>
          <p:nvPr>
            <p:ph type="body" sz="quarter" idx="14"/>
          </p:nvPr>
        </p:nvSpPr>
        <p:spPr>
          <a:xfrm>
            <a:off x="549473" y="1314196"/>
            <a:ext cx="8694148" cy="700435"/>
          </a:xfrm>
        </p:spPr>
        <p:txBody>
          <a:bodyPr/>
          <a:lstStyle/>
          <a:p>
            <a:r>
              <a:rPr lang="fr-FR" sz="1800" b="0" i="0" u="none" strike="noStrike" baseline="0" dirty="0">
                <a:solidFill>
                  <a:srgbClr val="212C49"/>
                </a:solidFill>
                <a:latin typeface="Calibri" panose="020F0502020204030204" pitchFamily="34" charset="0"/>
              </a:rPr>
              <a:t>C’est une interface que je vais utiliser avec la fonctionnalité de projection de Spring Data : l’interface contenant que des getters va recevoir le résultat d’une requête SQL personnalisée </a:t>
            </a:r>
            <a:endParaRPr lang="fr-FR" dirty="0"/>
          </a:p>
        </p:txBody>
      </p:sp>
      <p:pic>
        <p:nvPicPr>
          <p:cNvPr id="5" name="Image 4">
            <a:extLst>
              <a:ext uri="{FF2B5EF4-FFF2-40B4-BE49-F238E27FC236}">
                <a16:creationId xmlns:a16="http://schemas.microsoft.com/office/drawing/2014/main" id="{0DA9792C-472A-9F49-9A3C-9EE9FDA8A3BD}"/>
              </a:ext>
            </a:extLst>
          </p:cNvPr>
          <p:cNvPicPr>
            <a:picLocks noChangeAspect="1"/>
          </p:cNvPicPr>
          <p:nvPr/>
        </p:nvPicPr>
        <p:blipFill>
          <a:blip r:embed="rId2"/>
          <a:stretch>
            <a:fillRect/>
          </a:stretch>
        </p:blipFill>
        <p:spPr>
          <a:xfrm>
            <a:off x="2599527" y="1995581"/>
            <a:ext cx="3460955" cy="2585884"/>
          </a:xfrm>
          <a:prstGeom prst="rect">
            <a:avLst/>
          </a:prstGeom>
        </p:spPr>
      </p:pic>
      <p:sp>
        <p:nvSpPr>
          <p:cNvPr id="6" name="Espace réservé du texte 2">
            <a:extLst>
              <a:ext uri="{FF2B5EF4-FFF2-40B4-BE49-F238E27FC236}">
                <a16:creationId xmlns:a16="http://schemas.microsoft.com/office/drawing/2014/main" id="{831ACF78-79DA-113F-0A67-69FD86EF7B1B}"/>
              </a:ext>
            </a:extLst>
          </p:cNvPr>
          <p:cNvSpPr txBox="1">
            <a:spLocks/>
          </p:cNvSpPr>
          <p:nvPr/>
        </p:nvSpPr>
        <p:spPr>
          <a:xfrm>
            <a:off x="549473" y="6193174"/>
            <a:ext cx="4333677" cy="33366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a:t>La méthode récupère le résultat de la vue</a:t>
            </a:r>
            <a:endParaRPr lang="fr-FR" dirty="0"/>
          </a:p>
        </p:txBody>
      </p:sp>
      <p:pic>
        <p:nvPicPr>
          <p:cNvPr id="7" name="Image 6">
            <a:extLst>
              <a:ext uri="{FF2B5EF4-FFF2-40B4-BE49-F238E27FC236}">
                <a16:creationId xmlns:a16="http://schemas.microsoft.com/office/drawing/2014/main" id="{3A5C3A7B-5117-178F-9DDF-675C56F6D8B9}"/>
              </a:ext>
            </a:extLst>
          </p:cNvPr>
          <p:cNvPicPr>
            <a:picLocks noChangeAspect="1"/>
          </p:cNvPicPr>
          <p:nvPr/>
        </p:nvPicPr>
        <p:blipFill>
          <a:blip r:embed="rId3"/>
          <a:stretch>
            <a:fillRect/>
          </a:stretch>
        </p:blipFill>
        <p:spPr>
          <a:xfrm>
            <a:off x="549473" y="5349078"/>
            <a:ext cx="4286865" cy="776748"/>
          </a:xfrm>
          <a:prstGeom prst="rect">
            <a:avLst/>
          </a:prstGeom>
        </p:spPr>
      </p:pic>
      <p:sp>
        <p:nvSpPr>
          <p:cNvPr id="8" name="Titre 1">
            <a:extLst>
              <a:ext uri="{FF2B5EF4-FFF2-40B4-BE49-F238E27FC236}">
                <a16:creationId xmlns:a16="http://schemas.microsoft.com/office/drawing/2014/main" id="{DA58CAF1-0EC7-7AA5-5114-B8AF6B53F230}"/>
              </a:ext>
            </a:extLst>
          </p:cNvPr>
          <p:cNvSpPr txBox="1">
            <a:spLocks/>
          </p:cNvSpPr>
          <p:nvPr/>
        </p:nvSpPr>
        <p:spPr>
          <a:xfrm>
            <a:off x="568523" y="4672802"/>
            <a:ext cx="7561065" cy="436516"/>
          </a:xfrm>
          <a:prstGeom prst="rect">
            <a:avLst/>
          </a:prstGeom>
        </p:spPr>
        <p:txBody>
          <a:bodyPr wrap="square" lIns="0" tIns="14400" rIns="0" bIns="0">
            <a:spAutoFit/>
          </a:bodyPr>
          <a:lstStyle>
            <a:lvl1pPr marL="8775" algn="l" eaLnBrk="1" hangingPunct="1">
              <a:spcBef>
                <a:spcPts val="61"/>
              </a:spcBef>
              <a:defRPr sz="2742" b="1">
                <a:solidFill>
                  <a:schemeClr val="accent2"/>
                </a:solidFill>
                <a:latin typeface="+mj-lt"/>
                <a:ea typeface="+mj-ea"/>
                <a:cs typeface="+mj-cs"/>
              </a:defRPr>
            </a:lvl1pPr>
          </a:lstStyle>
          <a:p>
            <a:r>
              <a:rPr lang="fr-FR" kern="0"/>
              <a:t>PlanRepository</a:t>
            </a:r>
            <a:endParaRPr lang="fr-FR" kern="0" dirty="0"/>
          </a:p>
        </p:txBody>
      </p:sp>
    </p:spTree>
    <p:extLst>
      <p:ext uri="{BB962C8B-B14F-4D97-AF65-F5344CB8AC3E}">
        <p14:creationId xmlns:p14="http://schemas.microsoft.com/office/powerpoint/2010/main" val="2302279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211C4E4-BDB0-E80A-7898-F1AEAFF6E674}"/>
              </a:ext>
            </a:extLst>
          </p:cNvPr>
          <p:cNvPicPr>
            <a:picLocks noChangeAspect="1"/>
          </p:cNvPicPr>
          <p:nvPr/>
        </p:nvPicPr>
        <p:blipFill>
          <a:blip r:embed="rId2"/>
          <a:stretch>
            <a:fillRect/>
          </a:stretch>
        </p:blipFill>
        <p:spPr>
          <a:xfrm>
            <a:off x="0" y="387569"/>
            <a:ext cx="9906000" cy="6082862"/>
          </a:xfrm>
          <a:prstGeom prst="rect">
            <a:avLst/>
          </a:prstGeom>
        </p:spPr>
      </p:pic>
    </p:spTree>
    <p:extLst>
      <p:ext uri="{BB962C8B-B14F-4D97-AF65-F5344CB8AC3E}">
        <p14:creationId xmlns:p14="http://schemas.microsoft.com/office/powerpoint/2010/main" val="34753121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DA0F84-9E18-C60B-76F5-3511ED58B8A0}"/>
              </a:ext>
            </a:extLst>
          </p:cNvPr>
          <p:cNvSpPr>
            <a:spLocks noGrp="1"/>
          </p:cNvSpPr>
          <p:nvPr>
            <p:ph type="ctrTitle"/>
          </p:nvPr>
        </p:nvSpPr>
        <p:spPr/>
        <p:txBody>
          <a:bodyPr/>
          <a:lstStyle/>
          <a:p>
            <a:r>
              <a:rPr lang="fr-FR" dirty="0" err="1"/>
              <a:t>PlanExportDTO</a:t>
            </a:r>
            <a:endParaRPr lang="fr-FR" dirty="0"/>
          </a:p>
        </p:txBody>
      </p:sp>
      <p:sp>
        <p:nvSpPr>
          <p:cNvPr id="3" name="Espace réservé du texte 2">
            <a:extLst>
              <a:ext uri="{FF2B5EF4-FFF2-40B4-BE49-F238E27FC236}">
                <a16:creationId xmlns:a16="http://schemas.microsoft.com/office/drawing/2014/main" id="{DD92DD77-68A5-7CA2-A7AB-94B793AA0A80}"/>
              </a:ext>
            </a:extLst>
          </p:cNvPr>
          <p:cNvSpPr>
            <a:spLocks noGrp="1"/>
          </p:cNvSpPr>
          <p:nvPr>
            <p:ph type="body" sz="quarter" idx="14"/>
          </p:nvPr>
        </p:nvSpPr>
        <p:spPr>
          <a:xfrm>
            <a:off x="6477000" y="3429000"/>
            <a:ext cx="3429000" cy="1624203"/>
          </a:xfrm>
        </p:spPr>
        <p:txBody>
          <a:bodyPr/>
          <a:lstStyle/>
          <a:p>
            <a:r>
              <a:rPr lang="fr-FR" dirty="0"/>
              <a:t>DTO où l’on spécifie une liaison entre un numéro de colonne de l'entrée CSV et un attribut.</a:t>
            </a:r>
          </a:p>
        </p:txBody>
      </p:sp>
      <p:pic>
        <p:nvPicPr>
          <p:cNvPr id="5" name="Image 4">
            <a:extLst>
              <a:ext uri="{FF2B5EF4-FFF2-40B4-BE49-F238E27FC236}">
                <a16:creationId xmlns:a16="http://schemas.microsoft.com/office/drawing/2014/main" id="{61829047-599D-FB95-2AEB-EAE6B5802614}"/>
              </a:ext>
            </a:extLst>
          </p:cNvPr>
          <p:cNvPicPr>
            <a:picLocks noChangeAspect="1"/>
          </p:cNvPicPr>
          <p:nvPr/>
        </p:nvPicPr>
        <p:blipFill>
          <a:blip r:embed="rId2"/>
          <a:stretch>
            <a:fillRect/>
          </a:stretch>
        </p:blipFill>
        <p:spPr>
          <a:xfrm>
            <a:off x="199717" y="2968727"/>
            <a:ext cx="5506065" cy="3549445"/>
          </a:xfrm>
          <a:prstGeom prst="rect">
            <a:avLst/>
          </a:prstGeom>
        </p:spPr>
      </p:pic>
      <p:sp>
        <p:nvSpPr>
          <p:cNvPr id="8" name="Espace réservé du texte 2">
            <a:extLst>
              <a:ext uri="{FF2B5EF4-FFF2-40B4-BE49-F238E27FC236}">
                <a16:creationId xmlns:a16="http://schemas.microsoft.com/office/drawing/2014/main" id="{976BFB3A-901C-2A36-3F17-151457C7858E}"/>
              </a:ext>
            </a:extLst>
          </p:cNvPr>
          <p:cNvSpPr txBox="1">
            <a:spLocks/>
          </p:cNvSpPr>
          <p:nvPr/>
        </p:nvSpPr>
        <p:spPr>
          <a:xfrm>
            <a:off x="199717" y="1359745"/>
            <a:ext cx="8200827" cy="1300905"/>
          </a:xfrm>
          <a:prstGeom prst="rect">
            <a:avLst/>
          </a:prstGeom>
          <a:ln>
            <a:solidFill>
              <a:schemeClr val="tx1"/>
            </a:solidFill>
          </a:ln>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800" b="0" i="0" u="none" strike="noStrike" baseline="0" dirty="0">
                <a:solidFill>
                  <a:srgbClr val="212C49"/>
                </a:solidFill>
                <a:latin typeface="Verdana" panose="020B0604030504040204" pitchFamily="34" charset="0"/>
              </a:rPr>
              <a:t>Pour l’extraction de données en CSV, j’ai utilisé </a:t>
            </a:r>
            <a:r>
              <a:rPr lang="fr-FR" sz="1800" b="1" i="0" u="none" strike="noStrike" baseline="0" dirty="0" err="1">
                <a:solidFill>
                  <a:srgbClr val="000000"/>
                </a:solidFill>
                <a:latin typeface="Verdana" panose="020B0604030504040204" pitchFamily="34" charset="0"/>
              </a:rPr>
              <a:t>OpenCSV</a:t>
            </a:r>
            <a:r>
              <a:rPr lang="fr-FR" sz="1800" b="1" i="0" u="none" strike="noStrike" baseline="0" dirty="0">
                <a:solidFill>
                  <a:srgbClr val="000000"/>
                </a:solidFill>
                <a:latin typeface="Verdana" panose="020B0604030504040204" pitchFamily="34" charset="0"/>
              </a:rPr>
              <a:t> </a:t>
            </a:r>
            <a:r>
              <a:rPr lang="fr-FR" sz="1800" b="0" i="0" u="none" strike="noStrike" baseline="0" dirty="0">
                <a:solidFill>
                  <a:srgbClr val="000000"/>
                </a:solidFill>
                <a:latin typeface="Verdana" panose="020B0604030504040204" pitchFamily="34" charset="0"/>
              </a:rPr>
              <a:t>qui </a:t>
            </a:r>
            <a:r>
              <a:rPr lang="fr-FR" sz="1800" b="0" i="0" u="none" strike="noStrike" baseline="0" dirty="0">
                <a:solidFill>
                  <a:srgbClr val="212C49"/>
                </a:solidFill>
                <a:latin typeface="Verdana" panose="020B0604030504040204" pitchFamily="34" charset="0"/>
              </a:rPr>
              <a:t>est une bibliothèque d’analyse CSV pour Java. Pour se faire j’ai créé les classes </a:t>
            </a:r>
            <a:r>
              <a:rPr lang="fr-FR" sz="1800" b="0" i="0" u="none" strike="noStrike" baseline="0" dirty="0" err="1">
                <a:solidFill>
                  <a:srgbClr val="974705"/>
                </a:solidFill>
                <a:latin typeface="Verdana" panose="020B0604030504040204" pitchFamily="34" charset="0"/>
              </a:rPr>
              <a:t>PlanExportDTO</a:t>
            </a:r>
            <a:r>
              <a:rPr lang="fr-FR" sz="1800" b="0" i="0" u="none" strike="noStrike" baseline="0" dirty="0">
                <a:solidFill>
                  <a:srgbClr val="974705"/>
                </a:solidFill>
                <a:latin typeface="Verdana" panose="020B0604030504040204" pitchFamily="34" charset="0"/>
              </a:rPr>
              <a:t> </a:t>
            </a:r>
            <a:r>
              <a:rPr lang="fr-FR" sz="1800" b="0" i="0" u="none" strike="noStrike" baseline="0" dirty="0">
                <a:solidFill>
                  <a:srgbClr val="212C49"/>
                </a:solidFill>
                <a:latin typeface="Verdana" panose="020B0604030504040204" pitchFamily="34" charset="0"/>
              </a:rPr>
              <a:t>et </a:t>
            </a:r>
            <a:r>
              <a:rPr lang="fr-FR" sz="1800" b="0" i="0" u="none" strike="noStrike" baseline="0" dirty="0">
                <a:solidFill>
                  <a:srgbClr val="974705"/>
                </a:solidFill>
                <a:latin typeface="Verdana" panose="020B0604030504040204" pitchFamily="34" charset="0"/>
              </a:rPr>
              <a:t>ExportPlan </a:t>
            </a:r>
            <a:r>
              <a:rPr lang="fr-FR" sz="1800" b="0" i="0" u="none" strike="noStrike" baseline="0" dirty="0">
                <a:solidFill>
                  <a:srgbClr val="212C49"/>
                </a:solidFill>
                <a:latin typeface="Verdana" panose="020B0604030504040204" pitchFamily="34" charset="0"/>
              </a:rPr>
              <a:t>que je vais utiliser pour générer mon CSV : </a:t>
            </a:r>
            <a:endParaRPr lang="fr-FR" dirty="0"/>
          </a:p>
        </p:txBody>
      </p:sp>
    </p:spTree>
    <p:extLst>
      <p:ext uri="{BB962C8B-B14F-4D97-AF65-F5344CB8AC3E}">
        <p14:creationId xmlns:p14="http://schemas.microsoft.com/office/powerpoint/2010/main" val="15277271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5690C1-B56C-5011-FCDD-81E1448FDF86}"/>
              </a:ext>
            </a:extLst>
          </p:cNvPr>
          <p:cNvSpPr>
            <a:spLocks noGrp="1"/>
          </p:cNvSpPr>
          <p:nvPr>
            <p:ph type="ctrTitle"/>
          </p:nvPr>
        </p:nvSpPr>
        <p:spPr/>
        <p:txBody>
          <a:bodyPr/>
          <a:lstStyle/>
          <a:p>
            <a:r>
              <a:rPr lang="fr-FR" dirty="0"/>
              <a:t>ExportPlan</a:t>
            </a:r>
          </a:p>
        </p:txBody>
      </p:sp>
      <p:sp>
        <p:nvSpPr>
          <p:cNvPr id="3" name="Espace réservé du texte 2">
            <a:extLst>
              <a:ext uri="{FF2B5EF4-FFF2-40B4-BE49-F238E27FC236}">
                <a16:creationId xmlns:a16="http://schemas.microsoft.com/office/drawing/2014/main" id="{322A3941-5475-E329-23A3-195214AB7F9B}"/>
              </a:ext>
            </a:extLst>
          </p:cNvPr>
          <p:cNvSpPr>
            <a:spLocks noGrp="1"/>
          </p:cNvSpPr>
          <p:nvPr>
            <p:ph type="body" sz="quarter" idx="14"/>
          </p:nvPr>
        </p:nvSpPr>
        <p:spPr>
          <a:xfrm>
            <a:off x="492323" y="1316374"/>
            <a:ext cx="8694148" cy="700435"/>
          </a:xfrm>
        </p:spPr>
        <p:txBody>
          <a:bodyPr/>
          <a:lstStyle/>
          <a:p>
            <a:r>
              <a:rPr lang="fr-FR" sz="1800" b="0" i="0" u="none" strike="noStrike" baseline="0" dirty="0">
                <a:solidFill>
                  <a:srgbClr val="212C49"/>
                </a:solidFill>
                <a:latin typeface="Calibri" panose="020F0502020204030204" pitchFamily="34" charset="0"/>
              </a:rPr>
              <a:t>MappingStrategy pour mapper les colonnes du fichier CVS avec des noms personnalisés à des attributs du DTO. </a:t>
            </a:r>
            <a:endParaRPr lang="fr-FR" dirty="0"/>
          </a:p>
        </p:txBody>
      </p:sp>
      <p:pic>
        <p:nvPicPr>
          <p:cNvPr id="5" name="Image 4">
            <a:extLst>
              <a:ext uri="{FF2B5EF4-FFF2-40B4-BE49-F238E27FC236}">
                <a16:creationId xmlns:a16="http://schemas.microsoft.com/office/drawing/2014/main" id="{EF33641B-B365-1170-7BED-7886E17E2942}"/>
              </a:ext>
            </a:extLst>
          </p:cNvPr>
          <p:cNvPicPr>
            <a:picLocks noChangeAspect="1"/>
          </p:cNvPicPr>
          <p:nvPr/>
        </p:nvPicPr>
        <p:blipFill>
          <a:blip r:embed="rId2"/>
          <a:stretch>
            <a:fillRect/>
          </a:stretch>
        </p:blipFill>
        <p:spPr>
          <a:xfrm>
            <a:off x="492323" y="2198965"/>
            <a:ext cx="7331505" cy="4495562"/>
          </a:xfrm>
          <a:prstGeom prst="rect">
            <a:avLst/>
          </a:prstGeom>
        </p:spPr>
      </p:pic>
    </p:spTree>
    <p:extLst>
      <p:ext uri="{BB962C8B-B14F-4D97-AF65-F5344CB8AC3E}">
        <p14:creationId xmlns:p14="http://schemas.microsoft.com/office/powerpoint/2010/main" val="14414542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238FCF-F27B-F426-3057-B9D65911A960}"/>
              </a:ext>
            </a:extLst>
          </p:cNvPr>
          <p:cNvSpPr>
            <a:spLocks noGrp="1"/>
          </p:cNvSpPr>
          <p:nvPr>
            <p:ph type="ctrTitle"/>
          </p:nvPr>
        </p:nvSpPr>
        <p:spPr/>
        <p:txBody>
          <a:bodyPr/>
          <a:lstStyle/>
          <a:p>
            <a:r>
              <a:rPr lang="fr-FR" dirty="0" err="1"/>
              <a:t>ExportService</a:t>
            </a:r>
            <a:endParaRPr lang="fr-FR" dirty="0"/>
          </a:p>
        </p:txBody>
      </p:sp>
      <p:pic>
        <p:nvPicPr>
          <p:cNvPr id="5" name="Image 4">
            <a:extLst>
              <a:ext uri="{FF2B5EF4-FFF2-40B4-BE49-F238E27FC236}">
                <a16:creationId xmlns:a16="http://schemas.microsoft.com/office/drawing/2014/main" id="{EA1292F8-867B-BA8B-4D86-383F3DA5543C}"/>
              </a:ext>
            </a:extLst>
          </p:cNvPr>
          <p:cNvPicPr>
            <a:picLocks noChangeAspect="1"/>
          </p:cNvPicPr>
          <p:nvPr/>
        </p:nvPicPr>
        <p:blipFill>
          <a:blip r:embed="rId2"/>
          <a:stretch>
            <a:fillRect/>
          </a:stretch>
        </p:blipFill>
        <p:spPr>
          <a:xfrm>
            <a:off x="120650" y="2011187"/>
            <a:ext cx="9134089" cy="2275064"/>
          </a:xfrm>
          <a:prstGeom prst="rect">
            <a:avLst/>
          </a:prstGeom>
        </p:spPr>
      </p:pic>
    </p:spTree>
    <p:extLst>
      <p:ext uri="{BB962C8B-B14F-4D97-AF65-F5344CB8AC3E}">
        <p14:creationId xmlns:p14="http://schemas.microsoft.com/office/powerpoint/2010/main" val="297226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C5F921B-E4A7-3D78-8493-748530D2F1B2}"/>
              </a:ext>
            </a:extLst>
          </p:cNvPr>
          <p:cNvSpPr>
            <a:spLocks noGrp="1"/>
          </p:cNvSpPr>
          <p:nvPr>
            <p:ph type="ctrTitle"/>
          </p:nvPr>
        </p:nvSpPr>
        <p:spPr/>
        <p:txBody>
          <a:bodyPr/>
          <a:lstStyle/>
          <a:p>
            <a:r>
              <a:rPr lang="fr-FR" dirty="0"/>
              <a:t>Squad 3</a:t>
            </a:r>
          </a:p>
        </p:txBody>
      </p:sp>
      <p:sp>
        <p:nvSpPr>
          <p:cNvPr id="4" name="Espace réservé du texte 3">
            <a:extLst>
              <a:ext uri="{FF2B5EF4-FFF2-40B4-BE49-F238E27FC236}">
                <a16:creationId xmlns:a16="http://schemas.microsoft.com/office/drawing/2014/main" id="{21122F67-D488-2A1A-CC71-C51D86A3D215}"/>
              </a:ext>
            </a:extLst>
          </p:cNvPr>
          <p:cNvSpPr>
            <a:spLocks noGrp="1"/>
          </p:cNvSpPr>
          <p:nvPr>
            <p:ph type="body" sz="quarter" idx="12"/>
          </p:nvPr>
        </p:nvSpPr>
        <p:spPr>
          <a:xfrm>
            <a:off x="456287" y="1146026"/>
            <a:ext cx="9316363" cy="1631972"/>
          </a:xfrm>
        </p:spPr>
        <p:txBody>
          <a:bodyPr/>
          <a:lstStyle/>
          <a:p>
            <a:r>
              <a:rPr lang="fr-FR" dirty="0"/>
              <a:t>En 2021 : Contrat avec le </a:t>
            </a:r>
            <a:r>
              <a:rPr lang="fr-FR" b="1" dirty="0"/>
              <a:t>Conseil Régional d’Occitanie</a:t>
            </a:r>
            <a:r>
              <a:rPr lang="fr-FR" dirty="0"/>
              <a:t> pour </a:t>
            </a:r>
            <a:r>
              <a:rPr lang="fr-FR" b="1" dirty="0"/>
              <a:t>80 applications</a:t>
            </a:r>
            <a:r>
              <a:rPr lang="fr-FR" dirty="0"/>
              <a:t>.</a:t>
            </a:r>
          </a:p>
          <a:p>
            <a:r>
              <a:rPr lang="fr-FR" b="1" dirty="0"/>
              <a:t>T</a:t>
            </a:r>
            <a:r>
              <a:rPr lang="fr-FR" dirty="0"/>
              <a:t>ierce </a:t>
            </a:r>
            <a:r>
              <a:rPr lang="fr-FR" b="1" dirty="0"/>
              <a:t>M</a:t>
            </a:r>
            <a:r>
              <a:rPr lang="fr-FR" dirty="0"/>
              <a:t>aintenance </a:t>
            </a:r>
            <a:r>
              <a:rPr lang="fr-FR" b="1" dirty="0"/>
              <a:t>A</a:t>
            </a:r>
            <a:r>
              <a:rPr lang="fr-FR" dirty="0"/>
              <a:t>pplicative (</a:t>
            </a:r>
            <a:r>
              <a:rPr lang="fr-FR" b="1" dirty="0"/>
              <a:t>TMA</a:t>
            </a:r>
            <a:r>
              <a:rPr lang="fr-FR" dirty="0"/>
              <a:t>) : Conception et maintenance et amélioration applicative.</a:t>
            </a:r>
          </a:p>
          <a:p>
            <a:r>
              <a:rPr lang="fr-FR" b="1" dirty="0"/>
              <a:t>M</a:t>
            </a:r>
            <a:r>
              <a:rPr lang="fr-FR" dirty="0"/>
              <a:t>ise en </a:t>
            </a:r>
            <a:r>
              <a:rPr lang="fr-FR" b="1" dirty="0"/>
              <a:t>C</a:t>
            </a:r>
            <a:r>
              <a:rPr lang="fr-FR" dirty="0"/>
              <a:t>onformité </a:t>
            </a:r>
            <a:r>
              <a:rPr lang="fr-FR" b="1" dirty="0"/>
              <a:t>O</a:t>
            </a:r>
            <a:r>
              <a:rPr lang="fr-FR" dirty="0"/>
              <a:t>pérationnelle (</a:t>
            </a:r>
            <a:r>
              <a:rPr lang="fr-FR" b="1" dirty="0"/>
              <a:t>MCO</a:t>
            </a:r>
            <a:r>
              <a:rPr lang="fr-FR" dirty="0"/>
              <a:t>) : Outils pleinement opérationnels à tout moment et en adéquation avec leur environnement technique.</a:t>
            </a:r>
          </a:p>
          <a:p>
            <a:endParaRPr lang="fr-FR" dirty="0"/>
          </a:p>
        </p:txBody>
      </p:sp>
      <p:pic>
        <p:nvPicPr>
          <p:cNvPr id="5" name="Image 4">
            <a:extLst>
              <a:ext uri="{FF2B5EF4-FFF2-40B4-BE49-F238E27FC236}">
                <a16:creationId xmlns:a16="http://schemas.microsoft.com/office/drawing/2014/main" id="{68E7B945-C3A6-8F96-7A78-C98441137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498" y="2425700"/>
            <a:ext cx="3362623" cy="4432300"/>
          </a:xfrm>
          <a:prstGeom prst="rect">
            <a:avLst/>
          </a:prstGeom>
        </p:spPr>
      </p:pic>
      <p:pic>
        <p:nvPicPr>
          <p:cNvPr id="6" name="Image 5" descr="Une image contenant table&#10;&#10;Description générée automatiquement">
            <a:extLst>
              <a:ext uri="{FF2B5EF4-FFF2-40B4-BE49-F238E27FC236}">
                <a16:creationId xmlns:a16="http://schemas.microsoft.com/office/drawing/2014/main" id="{6B911BFC-B3E9-7E02-BC41-DAD6D24F01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121" y="3529430"/>
            <a:ext cx="3635292" cy="2785110"/>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1134C1EC-ADCD-CB4D-D445-7E2FD0B080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6893" y="3429000"/>
            <a:ext cx="2117248" cy="3412807"/>
          </a:xfrm>
          <a:prstGeom prst="rect">
            <a:avLst/>
          </a:prstGeom>
        </p:spPr>
      </p:pic>
      <p:pic>
        <p:nvPicPr>
          <p:cNvPr id="8" name="Image 7">
            <a:extLst>
              <a:ext uri="{FF2B5EF4-FFF2-40B4-BE49-F238E27FC236}">
                <a16:creationId xmlns:a16="http://schemas.microsoft.com/office/drawing/2014/main" id="{FA3D044E-EC72-1866-99FC-635E1F37A5CC}"/>
              </a:ext>
            </a:extLst>
          </p:cNvPr>
          <p:cNvPicPr>
            <a:picLocks noChangeAspect="1"/>
          </p:cNvPicPr>
          <p:nvPr/>
        </p:nvPicPr>
        <p:blipFill>
          <a:blip r:embed="rId5"/>
          <a:stretch>
            <a:fillRect/>
          </a:stretch>
        </p:blipFill>
        <p:spPr>
          <a:xfrm>
            <a:off x="8265517" y="915960"/>
            <a:ext cx="944350" cy="659471"/>
          </a:xfrm>
          <a:prstGeom prst="rect">
            <a:avLst/>
          </a:prstGeom>
        </p:spPr>
      </p:pic>
    </p:spTree>
    <p:extLst>
      <p:ext uri="{BB962C8B-B14F-4D97-AF65-F5344CB8AC3E}">
        <p14:creationId xmlns:p14="http://schemas.microsoft.com/office/powerpoint/2010/main" val="2505179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8E8A98-BAE2-8D92-C6A2-0663BD27CA65}"/>
              </a:ext>
            </a:extLst>
          </p:cNvPr>
          <p:cNvSpPr>
            <a:spLocks noGrp="1"/>
          </p:cNvSpPr>
          <p:nvPr>
            <p:ph type="ctrTitle"/>
          </p:nvPr>
        </p:nvSpPr>
        <p:spPr/>
        <p:txBody>
          <a:bodyPr/>
          <a:lstStyle/>
          <a:p>
            <a:r>
              <a:rPr lang="fr-FR" dirty="0" err="1"/>
              <a:t>ExportServiceImpl</a:t>
            </a:r>
            <a:endParaRPr lang="fr-FR" dirty="0"/>
          </a:p>
        </p:txBody>
      </p:sp>
      <p:pic>
        <p:nvPicPr>
          <p:cNvPr id="5" name="Image 4">
            <a:extLst>
              <a:ext uri="{FF2B5EF4-FFF2-40B4-BE49-F238E27FC236}">
                <a16:creationId xmlns:a16="http://schemas.microsoft.com/office/drawing/2014/main" id="{9FCECBA1-D4DF-9C6E-81CA-8480EF565640}"/>
              </a:ext>
            </a:extLst>
          </p:cNvPr>
          <p:cNvPicPr>
            <a:picLocks noChangeAspect="1"/>
          </p:cNvPicPr>
          <p:nvPr/>
        </p:nvPicPr>
        <p:blipFill>
          <a:blip r:embed="rId2"/>
          <a:stretch>
            <a:fillRect/>
          </a:stretch>
        </p:blipFill>
        <p:spPr>
          <a:xfrm>
            <a:off x="0" y="1134219"/>
            <a:ext cx="6445694" cy="5565032"/>
          </a:xfrm>
          <a:prstGeom prst="rect">
            <a:avLst/>
          </a:prstGeom>
        </p:spPr>
      </p:pic>
      <p:sp>
        <p:nvSpPr>
          <p:cNvPr id="6" name="Espace réservé du texte 2">
            <a:extLst>
              <a:ext uri="{FF2B5EF4-FFF2-40B4-BE49-F238E27FC236}">
                <a16:creationId xmlns:a16="http://schemas.microsoft.com/office/drawing/2014/main" id="{76EEAA2F-F04A-5349-3181-0DF14EF2B2F4}"/>
              </a:ext>
            </a:extLst>
          </p:cNvPr>
          <p:cNvSpPr txBox="1">
            <a:spLocks/>
          </p:cNvSpPr>
          <p:nvPr/>
        </p:nvSpPr>
        <p:spPr>
          <a:xfrm>
            <a:off x="4695128" y="1933417"/>
            <a:ext cx="5165976" cy="46415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classe </a:t>
            </a:r>
            <a:r>
              <a:rPr lang="fr-FR" sz="1100" b="1" dirty="0" err="1"/>
              <a:t>ModelMapper</a:t>
            </a:r>
            <a:r>
              <a:rPr lang="fr-FR" sz="1100" dirty="0"/>
              <a:t> pour effectuer le mappage d'objets, charger les définitions de mappage et enregistrer les mappeurs.</a:t>
            </a:r>
          </a:p>
        </p:txBody>
      </p:sp>
      <p:cxnSp>
        <p:nvCxnSpPr>
          <p:cNvPr id="7" name="Connecteur droit avec flèche 6">
            <a:extLst>
              <a:ext uri="{FF2B5EF4-FFF2-40B4-BE49-F238E27FC236}">
                <a16:creationId xmlns:a16="http://schemas.microsoft.com/office/drawing/2014/main" id="{159334AD-81AF-72C1-81F2-84CAC5180532}"/>
              </a:ext>
            </a:extLst>
          </p:cNvPr>
          <p:cNvCxnSpPr>
            <a:cxnSpLocks/>
          </p:cNvCxnSpPr>
          <p:nvPr/>
        </p:nvCxnSpPr>
        <p:spPr>
          <a:xfrm flipH="1">
            <a:off x="2762250" y="2165493"/>
            <a:ext cx="1873250" cy="1268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Espace réservé du texte 2">
            <a:extLst>
              <a:ext uri="{FF2B5EF4-FFF2-40B4-BE49-F238E27FC236}">
                <a16:creationId xmlns:a16="http://schemas.microsoft.com/office/drawing/2014/main" id="{670F14A5-43A8-08D5-EA53-0CDC44BA1616}"/>
              </a:ext>
            </a:extLst>
          </p:cNvPr>
          <p:cNvSpPr txBox="1">
            <a:spLocks/>
          </p:cNvSpPr>
          <p:nvPr/>
        </p:nvSpPr>
        <p:spPr>
          <a:xfrm>
            <a:off x="4552950" y="5367421"/>
            <a:ext cx="5165976" cy="650357"/>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100" dirty="0"/>
              <a:t>j’implémente </a:t>
            </a:r>
            <a:r>
              <a:rPr lang="fr-FR" sz="1100" b="1" dirty="0" err="1">
                <a:solidFill>
                  <a:schemeClr val="accent4"/>
                </a:solidFill>
              </a:rPr>
              <a:t>convertDate</a:t>
            </a:r>
            <a:r>
              <a:rPr lang="fr-FR" sz="1100" dirty="0"/>
              <a:t> de Type Converter&lt;&gt; qui convertit les instances du type source </a:t>
            </a:r>
            <a:r>
              <a:rPr lang="fr-FR" sz="1100" b="1" dirty="0"/>
              <a:t>Date</a:t>
            </a:r>
            <a:r>
              <a:rPr lang="fr-FR" sz="1100" dirty="0"/>
              <a:t> en instances du type destination </a:t>
            </a:r>
            <a:r>
              <a:rPr lang="fr-FR" sz="1100" b="1" dirty="0"/>
              <a:t>String</a:t>
            </a:r>
            <a:r>
              <a:rPr lang="fr-FR" sz="1100" dirty="0"/>
              <a:t> (vide si pas de Date)</a:t>
            </a:r>
          </a:p>
        </p:txBody>
      </p:sp>
      <p:cxnSp>
        <p:nvCxnSpPr>
          <p:cNvPr id="11" name="Connecteur droit avec flèche 10">
            <a:extLst>
              <a:ext uri="{FF2B5EF4-FFF2-40B4-BE49-F238E27FC236}">
                <a16:creationId xmlns:a16="http://schemas.microsoft.com/office/drawing/2014/main" id="{C8C77E68-6EAA-8BC7-8EDD-E01E0B4E4CB9}"/>
              </a:ext>
            </a:extLst>
          </p:cNvPr>
          <p:cNvCxnSpPr>
            <a:cxnSpLocks/>
          </p:cNvCxnSpPr>
          <p:nvPr/>
        </p:nvCxnSpPr>
        <p:spPr>
          <a:xfrm flipH="1" flipV="1">
            <a:off x="4695128" y="4940300"/>
            <a:ext cx="340422" cy="4762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51218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B9B900-FFAA-DEB7-94CF-F3FB2E25BDF2}"/>
              </a:ext>
            </a:extLst>
          </p:cNvPr>
          <p:cNvSpPr>
            <a:spLocks noGrp="1"/>
          </p:cNvSpPr>
          <p:nvPr>
            <p:ph type="ctrTitle"/>
          </p:nvPr>
        </p:nvSpPr>
        <p:spPr/>
        <p:txBody>
          <a:bodyPr/>
          <a:lstStyle/>
          <a:p>
            <a:endParaRPr lang="fr-FR"/>
          </a:p>
        </p:txBody>
      </p:sp>
      <p:pic>
        <p:nvPicPr>
          <p:cNvPr id="5" name="Image 4">
            <a:extLst>
              <a:ext uri="{FF2B5EF4-FFF2-40B4-BE49-F238E27FC236}">
                <a16:creationId xmlns:a16="http://schemas.microsoft.com/office/drawing/2014/main" id="{0B36799E-474B-C7B1-47C1-70218BF98813}"/>
              </a:ext>
            </a:extLst>
          </p:cNvPr>
          <p:cNvPicPr>
            <a:picLocks noChangeAspect="1"/>
          </p:cNvPicPr>
          <p:nvPr/>
        </p:nvPicPr>
        <p:blipFill>
          <a:blip r:embed="rId2"/>
          <a:stretch>
            <a:fillRect/>
          </a:stretch>
        </p:blipFill>
        <p:spPr>
          <a:xfrm>
            <a:off x="0" y="1329160"/>
            <a:ext cx="9906000" cy="2993180"/>
          </a:xfrm>
          <a:prstGeom prst="rect">
            <a:avLst/>
          </a:prstGeom>
        </p:spPr>
      </p:pic>
      <p:sp>
        <p:nvSpPr>
          <p:cNvPr id="6" name="Espace réservé du texte 2">
            <a:extLst>
              <a:ext uri="{FF2B5EF4-FFF2-40B4-BE49-F238E27FC236}">
                <a16:creationId xmlns:a16="http://schemas.microsoft.com/office/drawing/2014/main" id="{F7CA8129-4863-E412-5C4C-C58C7BD67626}"/>
              </a:ext>
            </a:extLst>
          </p:cNvPr>
          <p:cNvSpPr txBox="1">
            <a:spLocks/>
          </p:cNvSpPr>
          <p:nvPr/>
        </p:nvSpPr>
        <p:spPr>
          <a:xfrm>
            <a:off x="269178" y="4517282"/>
            <a:ext cx="8963722" cy="561038"/>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Puis je configure le </a:t>
            </a:r>
            <a:r>
              <a:rPr lang="fr-FR" sz="1400" b="1" dirty="0" err="1"/>
              <a:t>modelMapper</a:t>
            </a:r>
            <a:r>
              <a:rPr lang="fr-FR" sz="1400" dirty="0"/>
              <a:t> à l’aide de </a:t>
            </a:r>
            <a:r>
              <a:rPr lang="fr-FR" sz="1400" b="1" dirty="0" err="1">
                <a:solidFill>
                  <a:schemeClr val="accent4"/>
                </a:solidFill>
              </a:rPr>
              <a:t>convertDate</a:t>
            </a:r>
            <a:r>
              <a:rPr lang="fr-FR" sz="1400" dirty="0"/>
              <a:t> pour qu’il mappe les attributs Date que je souhaite.</a:t>
            </a:r>
          </a:p>
        </p:txBody>
      </p:sp>
    </p:spTree>
    <p:extLst>
      <p:ext uri="{BB962C8B-B14F-4D97-AF65-F5344CB8AC3E}">
        <p14:creationId xmlns:p14="http://schemas.microsoft.com/office/powerpoint/2010/main" val="29852874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24086F-AA79-33A7-8E85-3330C1CEA976}"/>
              </a:ext>
            </a:extLst>
          </p:cNvPr>
          <p:cNvSpPr>
            <a:spLocks noGrp="1"/>
          </p:cNvSpPr>
          <p:nvPr>
            <p:ph type="ctrTitle"/>
          </p:nvPr>
        </p:nvSpPr>
        <p:spPr/>
        <p:txBody>
          <a:bodyPr/>
          <a:lstStyle/>
          <a:p>
            <a:endParaRPr lang="fr-FR"/>
          </a:p>
        </p:txBody>
      </p:sp>
      <p:pic>
        <p:nvPicPr>
          <p:cNvPr id="5" name="Image 4">
            <a:extLst>
              <a:ext uri="{FF2B5EF4-FFF2-40B4-BE49-F238E27FC236}">
                <a16:creationId xmlns:a16="http://schemas.microsoft.com/office/drawing/2014/main" id="{66F0169C-8549-5872-2C8D-4B221091E1AE}"/>
              </a:ext>
            </a:extLst>
          </p:cNvPr>
          <p:cNvPicPr>
            <a:picLocks noChangeAspect="1"/>
          </p:cNvPicPr>
          <p:nvPr/>
        </p:nvPicPr>
        <p:blipFill>
          <a:blip r:embed="rId2"/>
          <a:stretch>
            <a:fillRect/>
          </a:stretch>
        </p:blipFill>
        <p:spPr>
          <a:xfrm>
            <a:off x="0" y="1352550"/>
            <a:ext cx="7470753" cy="5505450"/>
          </a:xfrm>
          <a:prstGeom prst="rect">
            <a:avLst/>
          </a:prstGeom>
        </p:spPr>
      </p:pic>
      <p:sp>
        <p:nvSpPr>
          <p:cNvPr id="6" name="Espace réservé du texte 2">
            <a:extLst>
              <a:ext uri="{FF2B5EF4-FFF2-40B4-BE49-F238E27FC236}">
                <a16:creationId xmlns:a16="http://schemas.microsoft.com/office/drawing/2014/main" id="{A17C8DA9-39B0-AAA3-FCC5-295C3D014C8D}"/>
              </a:ext>
            </a:extLst>
          </p:cNvPr>
          <p:cNvSpPr>
            <a:spLocks noGrp="1"/>
          </p:cNvSpPr>
          <p:nvPr>
            <p:ph type="body" sz="quarter" idx="14"/>
          </p:nvPr>
        </p:nvSpPr>
        <p:spPr>
          <a:xfrm>
            <a:off x="5688382" y="3429000"/>
            <a:ext cx="3944568" cy="581300"/>
          </a:xfrm>
        </p:spPr>
        <p:txBody>
          <a:bodyPr/>
          <a:lstStyle/>
          <a:p>
            <a:r>
              <a:rPr lang="fr-FR" sz="1400" dirty="0"/>
              <a:t>Et enfin je récupère la liste des dispositifs que je mappe en DTO.</a:t>
            </a:r>
          </a:p>
        </p:txBody>
      </p:sp>
      <p:sp>
        <p:nvSpPr>
          <p:cNvPr id="7" name="Espace réservé du texte 2">
            <a:extLst>
              <a:ext uri="{FF2B5EF4-FFF2-40B4-BE49-F238E27FC236}">
                <a16:creationId xmlns:a16="http://schemas.microsoft.com/office/drawing/2014/main" id="{237288E9-9701-4977-E801-FBBC0A146A31}"/>
              </a:ext>
            </a:extLst>
          </p:cNvPr>
          <p:cNvSpPr txBox="1">
            <a:spLocks/>
          </p:cNvSpPr>
          <p:nvPr/>
        </p:nvSpPr>
        <p:spPr>
          <a:xfrm>
            <a:off x="5118102" y="4231788"/>
            <a:ext cx="4850925" cy="810112"/>
          </a:xfrm>
          <a:prstGeom prst="rect">
            <a:avLst/>
          </a:prstGeom>
        </p:spPr>
        <p:txBody>
          <a:bodyPr vert="horz" wrap="square" lIns="0" tIns="108000" rIns="0" bIns="0" rtlCol="0">
            <a:spAutoFit/>
          </a:bodyPr>
          <a:lstStyle>
            <a:lvl1pPr marL="0" algn="l" eaLnBrk="1" hangingPunct="1">
              <a:lnSpc>
                <a:spcPct val="110000"/>
              </a:lnSpc>
              <a:spcBef>
                <a:spcPts val="378"/>
              </a:spcBef>
              <a:spcAft>
                <a:spcPts val="378"/>
              </a:spcAft>
              <a:defRPr sz="1463" kern="1200" baseline="0">
                <a:solidFill>
                  <a:schemeClr val="tx2"/>
                </a:solidFill>
                <a:latin typeface="+mn-lt"/>
                <a:ea typeface="+mn-ea"/>
                <a:cs typeface="+mn-cs"/>
              </a:defRPr>
            </a:lvl1pPr>
            <a:lvl2pPr marL="0" algn="l" eaLnBrk="1" hangingPunct="1">
              <a:lnSpc>
                <a:spcPct val="110000"/>
              </a:lnSpc>
              <a:spcBef>
                <a:spcPts val="0"/>
              </a:spcBef>
              <a:spcAft>
                <a:spcPts val="378"/>
              </a:spcAft>
              <a:defRPr sz="1280" kern="1200" baseline="0">
                <a:solidFill>
                  <a:schemeClr val="accent1"/>
                </a:solidFill>
                <a:latin typeface="+mn-lt"/>
                <a:ea typeface="+mn-ea"/>
                <a:cs typeface="+mn-cs"/>
              </a:defRPr>
            </a:lvl2pPr>
            <a:lvl3pPr marL="0" algn="l" eaLnBrk="1" hangingPunct="1">
              <a:lnSpc>
                <a:spcPct val="110000"/>
              </a:lnSpc>
              <a:spcBef>
                <a:spcPts val="0"/>
              </a:spcBef>
              <a:spcAft>
                <a:spcPts val="378"/>
              </a:spcAft>
              <a:defRPr kern="1200" baseline="0">
                <a:solidFill>
                  <a:schemeClr val="accent3"/>
                </a:solidFill>
                <a:latin typeface="+mn-lt"/>
                <a:ea typeface="+mn-ea"/>
                <a:cs typeface="+mn-cs"/>
              </a:defRPr>
            </a:lvl3pPr>
            <a:lvl4pPr marL="175500" indent="-131625" algn="l" eaLnBrk="1" hangingPunct="1">
              <a:lnSpc>
                <a:spcPct val="110000"/>
              </a:lnSpc>
              <a:spcBef>
                <a:spcPts val="0"/>
              </a:spcBef>
              <a:spcAft>
                <a:spcPts val="451"/>
              </a:spcAft>
              <a:buFont typeface="Wingdings" panose="05000000000000000000" pitchFamily="2" charset="2"/>
              <a:buChar char="§"/>
              <a:defRPr sz="1097" kern="1200" baseline="0">
                <a:solidFill>
                  <a:schemeClr val="accent3"/>
                </a:solidFill>
                <a:latin typeface="+mn-lt"/>
                <a:ea typeface="+mn-ea"/>
                <a:cs typeface="+mn-cs"/>
              </a:defRPr>
            </a:lvl4pPr>
            <a:lvl5pPr marL="0" algn="l" eaLnBrk="1" hangingPunct="1">
              <a:lnSpc>
                <a:spcPct val="110000"/>
              </a:lnSpc>
              <a:spcBef>
                <a:spcPts val="0"/>
              </a:spcBef>
              <a:spcAft>
                <a:spcPts val="378"/>
              </a:spcAft>
              <a:defRPr sz="914" kern="1200" baseline="0">
                <a:solidFill>
                  <a:schemeClr val="tx2"/>
                </a:solidFill>
                <a:latin typeface="+mn-lt"/>
                <a:ea typeface="+mn-ea"/>
                <a:cs typeface="+mn-cs"/>
              </a:defRPr>
            </a:lvl5pPr>
            <a:lvl6pPr marL="175500" indent="-131625" algn="l" eaLnBrk="1" hangingPunct="1">
              <a:lnSpc>
                <a:spcPct val="110000"/>
              </a:lnSpc>
              <a:spcBef>
                <a:spcPts val="0"/>
              </a:spcBef>
              <a:spcAft>
                <a:spcPts val="451"/>
              </a:spcAft>
              <a:buFont typeface="Wingdings" panose="05000000000000000000" pitchFamily="2" charset="2"/>
              <a:buChar char="§"/>
              <a:defRPr sz="914">
                <a:solidFill>
                  <a:schemeClr val="tx2"/>
                </a:solidFill>
                <a:latin typeface="+mn-lt"/>
                <a:ea typeface="+mn-ea"/>
                <a:cs typeface="+mn-cs"/>
              </a:defRPr>
            </a:lvl6pPr>
            <a:lvl7pPr marL="0" algn="l" eaLnBrk="1" hangingPunct="1">
              <a:lnSpc>
                <a:spcPct val="110000"/>
              </a:lnSpc>
              <a:spcBef>
                <a:spcPts val="378"/>
              </a:spcBef>
              <a:spcAft>
                <a:spcPts val="0"/>
              </a:spcAft>
              <a:defRPr sz="792">
                <a:solidFill>
                  <a:schemeClr val="accent1"/>
                </a:solidFill>
                <a:latin typeface="+mn-lt"/>
                <a:ea typeface="+mn-ea"/>
                <a:cs typeface="+mn-cs"/>
              </a:defRPr>
            </a:lvl7pPr>
            <a:lvl8pPr marL="175500" indent="-131625" algn="l" eaLnBrk="1" hangingPunct="1">
              <a:lnSpc>
                <a:spcPct val="110000"/>
              </a:lnSpc>
              <a:spcBef>
                <a:spcPts val="0"/>
              </a:spcBef>
              <a:spcAft>
                <a:spcPts val="451"/>
              </a:spcAft>
              <a:buFont typeface="Wingdings" panose="05000000000000000000" pitchFamily="2" charset="2"/>
              <a:buChar char="§"/>
              <a:defRPr sz="792">
                <a:solidFill>
                  <a:schemeClr val="accent1"/>
                </a:solidFill>
                <a:latin typeface="+mn-lt"/>
                <a:ea typeface="+mn-ea"/>
                <a:cs typeface="+mn-cs"/>
              </a:defRPr>
            </a:lvl8pPr>
            <a:lvl9pPr marL="2228850" eaLnBrk="1" hangingPunct="1">
              <a:defRPr>
                <a:latin typeface="+mn-lt"/>
                <a:ea typeface="+mn-ea"/>
                <a:cs typeface="+mn-cs"/>
              </a:defRPr>
            </a:lvl9pPr>
          </a:lstStyle>
          <a:p>
            <a:r>
              <a:rPr lang="fr-FR" sz="1400" dirty="0"/>
              <a:t>Je créé un CSV correspondant grâce </a:t>
            </a:r>
            <a:r>
              <a:rPr lang="fr-FR" sz="1400" dirty="0" err="1"/>
              <a:t>OpenCSV</a:t>
            </a:r>
            <a:r>
              <a:rPr lang="fr-FR" sz="1400" dirty="0"/>
              <a:t> en lui donnant un nom et un type et un encodage que j’intègre dans la réponse http.</a:t>
            </a:r>
          </a:p>
        </p:txBody>
      </p:sp>
      <p:cxnSp>
        <p:nvCxnSpPr>
          <p:cNvPr id="8" name="Connecteur droit avec flèche 7">
            <a:extLst>
              <a:ext uri="{FF2B5EF4-FFF2-40B4-BE49-F238E27FC236}">
                <a16:creationId xmlns:a16="http://schemas.microsoft.com/office/drawing/2014/main" id="{0C0F0039-0641-7B66-2ADA-2E2763A3AD68}"/>
              </a:ext>
            </a:extLst>
          </p:cNvPr>
          <p:cNvCxnSpPr>
            <a:cxnSpLocks/>
          </p:cNvCxnSpPr>
          <p:nvPr/>
        </p:nvCxnSpPr>
        <p:spPr>
          <a:xfrm flipH="1" flipV="1">
            <a:off x="3735376" y="3359150"/>
            <a:ext cx="1814524" cy="3605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Connecteur droit avec flèche 9">
            <a:extLst>
              <a:ext uri="{FF2B5EF4-FFF2-40B4-BE49-F238E27FC236}">
                <a16:creationId xmlns:a16="http://schemas.microsoft.com/office/drawing/2014/main" id="{F1E8D8D6-B719-71A9-97A2-46AFFCB6CAF5}"/>
              </a:ext>
            </a:extLst>
          </p:cNvPr>
          <p:cNvCxnSpPr>
            <a:cxnSpLocks/>
          </p:cNvCxnSpPr>
          <p:nvPr/>
        </p:nvCxnSpPr>
        <p:spPr>
          <a:xfrm flipH="1" flipV="1">
            <a:off x="3526185" y="4305300"/>
            <a:ext cx="1426815" cy="331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Connecteur droit avec flèche 11">
            <a:extLst>
              <a:ext uri="{FF2B5EF4-FFF2-40B4-BE49-F238E27FC236}">
                <a16:creationId xmlns:a16="http://schemas.microsoft.com/office/drawing/2014/main" id="{EFB02D59-C87C-F18D-E945-A439CF508ACC}"/>
              </a:ext>
            </a:extLst>
          </p:cNvPr>
          <p:cNvCxnSpPr>
            <a:cxnSpLocks/>
          </p:cNvCxnSpPr>
          <p:nvPr/>
        </p:nvCxnSpPr>
        <p:spPr>
          <a:xfrm flipH="1">
            <a:off x="5295900" y="5099050"/>
            <a:ext cx="133350" cy="2603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31832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EAC1239-FB8D-2D66-4593-B0410AEB6593}"/>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C5BE52B0-B955-CE87-AACB-D770EA5F20BF}"/>
              </a:ext>
            </a:extLst>
          </p:cNvPr>
          <p:cNvSpPr>
            <a:spLocks noGrp="1"/>
          </p:cNvSpPr>
          <p:nvPr>
            <p:ph type="title"/>
          </p:nvPr>
        </p:nvSpPr>
        <p:spPr/>
        <p:txBody>
          <a:bodyPr/>
          <a:lstStyle/>
          <a:p>
            <a:r>
              <a:rPr lang="fr-FR" dirty="0" err="1"/>
              <a:t>Deploiement</a:t>
            </a:r>
            <a:endParaRPr lang="fr-FR" dirty="0"/>
          </a:p>
        </p:txBody>
      </p:sp>
      <p:pic>
        <p:nvPicPr>
          <p:cNvPr id="5" name="Image 4">
            <a:extLst>
              <a:ext uri="{FF2B5EF4-FFF2-40B4-BE49-F238E27FC236}">
                <a16:creationId xmlns:a16="http://schemas.microsoft.com/office/drawing/2014/main" id="{DBF8471D-3785-8B98-BA30-6557165D0E7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84574250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D03486-970D-FA52-5992-4F3BDA963430}"/>
              </a:ext>
            </a:extLst>
          </p:cNvPr>
          <p:cNvSpPr>
            <a:spLocks noGrp="1"/>
          </p:cNvSpPr>
          <p:nvPr>
            <p:ph type="ctrTitle"/>
          </p:nvPr>
        </p:nvSpPr>
        <p:spPr/>
        <p:txBody>
          <a:bodyPr/>
          <a:lstStyle/>
          <a:p>
            <a:r>
              <a:rPr lang="fr-FR" dirty="0" err="1"/>
              <a:t>CodeP</a:t>
            </a:r>
            <a:endParaRPr lang="fr-FR" dirty="0"/>
          </a:p>
        </p:txBody>
      </p:sp>
      <p:sp>
        <p:nvSpPr>
          <p:cNvPr id="3" name="Espace réservé du texte 2">
            <a:extLst>
              <a:ext uri="{FF2B5EF4-FFF2-40B4-BE49-F238E27FC236}">
                <a16:creationId xmlns:a16="http://schemas.microsoft.com/office/drawing/2014/main" id="{4D92F3E4-5DE6-7ACA-4C4A-17D089F6DD7F}"/>
              </a:ext>
            </a:extLst>
          </p:cNvPr>
          <p:cNvSpPr>
            <a:spLocks noGrp="1"/>
          </p:cNvSpPr>
          <p:nvPr>
            <p:ph type="body" sz="quarter" idx="14"/>
          </p:nvPr>
        </p:nvSpPr>
        <p:spPr>
          <a:xfrm>
            <a:off x="549473" y="1608474"/>
            <a:ext cx="8694148" cy="1515017"/>
          </a:xfrm>
        </p:spPr>
        <p:txBody>
          <a:bodyPr/>
          <a:lstStyle/>
          <a:p>
            <a:r>
              <a:rPr lang="fr-FR" sz="1800" dirty="0">
                <a:solidFill>
                  <a:srgbClr val="212C49"/>
                </a:solidFill>
                <a:latin typeface="Calibri" panose="020F0502020204030204" pitchFamily="34" charset="0"/>
              </a:rPr>
              <a:t>P</a:t>
            </a:r>
            <a:r>
              <a:rPr lang="fr-FR" sz="1800" b="0" i="0" u="none" strike="noStrike" baseline="0" dirty="0">
                <a:solidFill>
                  <a:srgbClr val="212C49"/>
                </a:solidFill>
                <a:latin typeface="Calibri" panose="020F0502020204030204" pitchFamily="34" charset="0"/>
              </a:rPr>
              <a:t>lateforme Inetum </a:t>
            </a:r>
            <a:r>
              <a:rPr lang="fr-FR" sz="1800" b="1" i="0" u="none" strike="noStrike" baseline="0" dirty="0">
                <a:solidFill>
                  <a:srgbClr val="212C49"/>
                </a:solidFill>
                <a:latin typeface="Calibri" panose="020F0502020204030204" pitchFamily="34" charset="0"/>
              </a:rPr>
              <a:t>d’intégration continue </a:t>
            </a:r>
            <a:r>
              <a:rPr lang="fr-FR" sz="1800" b="0" i="0" u="none" strike="noStrike" baseline="0" dirty="0">
                <a:solidFill>
                  <a:srgbClr val="212C49"/>
                </a:solidFill>
                <a:latin typeface="Calibri" panose="020F0502020204030204" pitchFamily="34" charset="0"/>
              </a:rPr>
              <a:t>et de </a:t>
            </a:r>
            <a:r>
              <a:rPr lang="fr-FR" sz="1800" b="1" i="0" u="none" strike="noStrike" baseline="0" dirty="0">
                <a:solidFill>
                  <a:srgbClr val="212C49"/>
                </a:solidFill>
                <a:latin typeface="Calibri" panose="020F0502020204030204" pitchFamily="34" charset="0"/>
              </a:rPr>
              <a:t>déploiement continu</a:t>
            </a:r>
            <a:r>
              <a:rPr lang="fr-FR" sz="1800" b="0" i="0" u="none" strike="noStrike" baseline="0" dirty="0">
                <a:solidFill>
                  <a:srgbClr val="212C49"/>
                </a:solidFill>
                <a:latin typeface="Calibri" panose="020F0502020204030204" pitchFamily="34" charset="0"/>
              </a:rPr>
              <a:t>.</a:t>
            </a:r>
            <a:endParaRPr lang="fr-FR" sz="1800" dirty="0">
              <a:solidFill>
                <a:srgbClr val="212C49"/>
              </a:solidFill>
              <a:latin typeface="Calibri" panose="020F0502020204030204" pitchFamily="34" charset="0"/>
            </a:endParaRPr>
          </a:p>
          <a:p>
            <a:pPr marL="285750" indent="-285750">
              <a:buFont typeface="Arial" panose="020B0604020202020204" pitchFamily="34" charset="0"/>
              <a:buChar char="•"/>
            </a:pPr>
            <a:r>
              <a:rPr lang="fr-FR" sz="1800" b="0" i="0" u="none" strike="noStrike" baseline="0" dirty="0">
                <a:solidFill>
                  <a:srgbClr val="212C49"/>
                </a:solidFill>
                <a:latin typeface="Calibri" panose="020F0502020204030204" pitchFamily="34" charset="0"/>
              </a:rPr>
              <a:t>Mettre en place une pratique DevOps consistant à développer</a:t>
            </a:r>
          </a:p>
          <a:p>
            <a:pPr marL="285750" indent="-285750">
              <a:buFont typeface="Arial" panose="020B0604020202020204" pitchFamily="34" charset="0"/>
              <a:buChar char="•"/>
            </a:pPr>
            <a:r>
              <a:rPr lang="fr-FR" sz="1800" dirty="0">
                <a:solidFill>
                  <a:srgbClr val="212C49"/>
                </a:solidFill>
                <a:latin typeface="Calibri" panose="020F0502020204030204" pitchFamily="34" charset="0"/>
              </a:rPr>
              <a:t>T</a:t>
            </a:r>
            <a:r>
              <a:rPr lang="fr-FR" sz="1800" b="0" i="0" u="none" strike="noStrike" baseline="0" dirty="0">
                <a:solidFill>
                  <a:srgbClr val="212C49"/>
                </a:solidFill>
                <a:latin typeface="Calibri" panose="020F0502020204030204" pitchFamily="34" charset="0"/>
              </a:rPr>
              <a:t>ester et à délivrer des améliorations au code d’un logiciel ou aux environnements utilisateurs à l’aide d’outils automatisés. </a:t>
            </a:r>
            <a:endParaRPr lang="fr-FR" dirty="0"/>
          </a:p>
        </p:txBody>
      </p:sp>
    </p:spTree>
    <p:extLst>
      <p:ext uri="{BB962C8B-B14F-4D97-AF65-F5344CB8AC3E}">
        <p14:creationId xmlns:p14="http://schemas.microsoft.com/office/powerpoint/2010/main" val="12783443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0AE7A95-58C2-71D0-94DE-7FF06EE52AB3}"/>
              </a:ext>
            </a:extLst>
          </p:cNvPr>
          <p:cNvPicPr>
            <a:picLocks noChangeAspect="1"/>
          </p:cNvPicPr>
          <p:nvPr/>
        </p:nvPicPr>
        <p:blipFill>
          <a:blip r:embed="rId2"/>
          <a:stretch>
            <a:fillRect/>
          </a:stretch>
        </p:blipFill>
        <p:spPr>
          <a:xfrm>
            <a:off x="0" y="-1"/>
            <a:ext cx="7933102" cy="4404417"/>
          </a:xfrm>
          <a:prstGeom prst="rect">
            <a:avLst/>
          </a:prstGeom>
        </p:spPr>
      </p:pic>
      <p:pic>
        <p:nvPicPr>
          <p:cNvPr id="9" name="Image 8">
            <a:extLst>
              <a:ext uri="{FF2B5EF4-FFF2-40B4-BE49-F238E27FC236}">
                <a16:creationId xmlns:a16="http://schemas.microsoft.com/office/drawing/2014/main" id="{7BF72D0C-AA52-779F-B71C-952ED20FA92E}"/>
              </a:ext>
            </a:extLst>
          </p:cNvPr>
          <p:cNvPicPr>
            <a:picLocks noChangeAspect="1"/>
          </p:cNvPicPr>
          <p:nvPr/>
        </p:nvPicPr>
        <p:blipFill>
          <a:blip r:embed="rId3"/>
          <a:stretch>
            <a:fillRect/>
          </a:stretch>
        </p:blipFill>
        <p:spPr>
          <a:xfrm>
            <a:off x="0" y="4404417"/>
            <a:ext cx="7023100" cy="2453583"/>
          </a:xfrm>
          <a:prstGeom prst="rect">
            <a:avLst/>
          </a:prstGeom>
        </p:spPr>
      </p:pic>
    </p:spTree>
    <p:extLst>
      <p:ext uri="{BB962C8B-B14F-4D97-AF65-F5344CB8AC3E}">
        <p14:creationId xmlns:p14="http://schemas.microsoft.com/office/powerpoint/2010/main" val="9878729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117690-EBE8-F0CF-82EE-F71F2348B362}"/>
              </a:ext>
            </a:extLst>
          </p:cNvPr>
          <p:cNvSpPr>
            <a:spLocks noGrp="1"/>
          </p:cNvSpPr>
          <p:nvPr>
            <p:ph type="ctrTitle"/>
          </p:nvPr>
        </p:nvSpPr>
        <p:spPr/>
        <p:txBody>
          <a:bodyPr/>
          <a:lstStyle/>
          <a:p>
            <a:r>
              <a:rPr lang="fr-FR" dirty="0" err="1"/>
              <a:t>Jenkins.file</a:t>
            </a:r>
            <a:endParaRPr lang="fr-FR" dirty="0"/>
          </a:p>
        </p:txBody>
      </p:sp>
      <p:sp>
        <p:nvSpPr>
          <p:cNvPr id="3" name="Espace réservé du texte 2">
            <a:extLst>
              <a:ext uri="{FF2B5EF4-FFF2-40B4-BE49-F238E27FC236}">
                <a16:creationId xmlns:a16="http://schemas.microsoft.com/office/drawing/2014/main" id="{E940AB01-F3D4-E28C-B59B-DC945BE4461A}"/>
              </a:ext>
            </a:extLst>
          </p:cNvPr>
          <p:cNvSpPr>
            <a:spLocks noGrp="1"/>
          </p:cNvSpPr>
          <p:nvPr>
            <p:ph type="body" sz="quarter" idx="14"/>
          </p:nvPr>
        </p:nvSpPr>
        <p:spPr>
          <a:xfrm>
            <a:off x="549473" y="1310024"/>
            <a:ext cx="8694148" cy="1281748"/>
          </a:xfrm>
        </p:spPr>
        <p:txBody>
          <a:bodyPr/>
          <a:lstStyle/>
          <a:p>
            <a:r>
              <a:rPr lang="fr-FR" dirty="0"/>
              <a:t>Le déploiement pour mon projet n’était pas fonctionnel : </a:t>
            </a:r>
          </a:p>
          <a:p>
            <a:r>
              <a:rPr lang="fr-FR" dirty="0"/>
              <a:t>=&gt; consulter des ressources au sujet de Docker, Jenkins et Azure et programmer des réunions avec des responsables de la plateforme Code P.</a:t>
            </a:r>
          </a:p>
          <a:p>
            <a:r>
              <a:rPr lang="fr-FR" dirty="0"/>
              <a:t> J’ai pu ensuite construire un fichier Jenkins à mettre à la racine du projet sur le GitLab. </a:t>
            </a:r>
          </a:p>
        </p:txBody>
      </p:sp>
      <p:pic>
        <p:nvPicPr>
          <p:cNvPr id="5" name="Image 4">
            <a:extLst>
              <a:ext uri="{FF2B5EF4-FFF2-40B4-BE49-F238E27FC236}">
                <a16:creationId xmlns:a16="http://schemas.microsoft.com/office/drawing/2014/main" id="{423A978A-4781-100C-7FE9-A4B274C3B1C3}"/>
              </a:ext>
            </a:extLst>
          </p:cNvPr>
          <p:cNvPicPr>
            <a:picLocks noChangeAspect="1"/>
          </p:cNvPicPr>
          <p:nvPr/>
        </p:nvPicPr>
        <p:blipFill>
          <a:blip r:embed="rId2"/>
          <a:stretch>
            <a:fillRect/>
          </a:stretch>
        </p:blipFill>
        <p:spPr>
          <a:xfrm>
            <a:off x="88900" y="2646880"/>
            <a:ext cx="8623300" cy="4211120"/>
          </a:xfrm>
          <a:prstGeom prst="rect">
            <a:avLst/>
          </a:prstGeom>
        </p:spPr>
      </p:pic>
    </p:spTree>
    <p:extLst>
      <p:ext uri="{BB962C8B-B14F-4D97-AF65-F5344CB8AC3E}">
        <p14:creationId xmlns:p14="http://schemas.microsoft.com/office/powerpoint/2010/main" val="164975690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20E2C8-8F26-A5A7-2A35-D29C3BF0F957}"/>
              </a:ext>
            </a:extLst>
          </p:cNvPr>
          <p:cNvSpPr>
            <a:spLocks noGrp="1"/>
          </p:cNvSpPr>
          <p:nvPr>
            <p:ph type="ctrTitle"/>
          </p:nvPr>
        </p:nvSpPr>
        <p:spPr/>
        <p:txBody>
          <a:bodyPr/>
          <a:lstStyle/>
          <a:p>
            <a:r>
              <a:rPr lang="fr-FR" dirty="0" err="1"/>
              <a:t>deploiement</a:t>
            </a:r>
            <a:endParaRPr lang="fr-FR" dirty="0"/>
          </a:p>
        </p:txBody>
      </p:sp>
      <p:sp>
        <p:nvSpPr>
          <p:cNvPr id="3" name="Espace réservé du texte 2">
            <a:extLst>
              <a:ext uri="{FF2B5EF4-FFF2-40B4-BE49-F238E27FC236}">
                <a16:creationId xmlns:a16="http://schemas.microsoft.com/office/drawing/2014/main" id="{E335985C-8BB7-5B36-9B7F-3A42E8DAC832}"/>
              </a:ext>
            </a:extLst>
          </p:cNvPr>
          <p:cNvSpPr>
            <a:spLocks noGrp="1"/>
          </p:cNvSpPr>
          <p:nvPr>
            <p:ph type="body" sz="quarter" idx="14"/>
          </p:nvPr>
        </p:nvSpPr>
        <p:spPr>
          <a:xfrm>
            <a:off x="441523" y="1508378"/>
            <a:ext cx="8694148" cy="395736"/>
          </a:xfrm>
        </p:spPr>
        <p:txBody>
          <a:bodyPr/>
          <a:lstStyle/>
          <a:p>
            <a:r>
              <a:rPr lang="fr-FR" sz="1800" b="0" i="0" u="none" strike="noStrike" baseline="0" dirty="0">
                <a:solidFill>
                  <a:srgbClr val="212C49"/>
                </a:solidFill>
                <a:latin typeface="Calibri" panose="020F0502020204030204" pitchFamily="34" charset="0"/>
              </a:rPr>
              <a:t>Je n’avais plus qu’à aller sur le compte Jenkins pour lancer le déploiement de l’application. </a:t>
            </a:r>
            <a:endParaRPr lang="fr-FR" dirty="0"/>
          </a:p>
        </p:txBody>
      </p:sp>
      <p:pic>
        <p:nvPicPr>
          <p:cNvPr id="5" name="Image 4">
            <a:extLst>
              <a:ext uri="{FF2B5EF4-FFF2-40B4-BE49-F238E27FC236}">
                <a16:creationId xmlns:a16="http://schemas.microsoft.com/office/drawing/2014/main" id="{CAC6F4E1-0708-AE2D-D128-6FF1230FC6D9}"/>
              </a:ext>
            </a:extLst>
          </p:cNvPr>
          <p:cNvPicPr>
            <a:picLocks noChangeAspect="1"/>
          </p:cNvPicPr>
          <p:nvPr/>
        </p:nvPicPr>
        <p:blipFill>
          <a:blip r:embed="rId2"/>
          <a:stretch>
            <a:fillRect/>
          </a:stretch>
        </p:blipFill>
        <p:spPr>
          <a:xfrm>
            <a:off x="549473" y="2278274"/>
            <a:ext cx="8219768" cy="3185652"/>
          </a:xfrm>
          <a:prstGeom prst="rect">
            <a:avLst/>
          </a:prstGeom>
        </p:spPr>
      </p:pic>
    </p:spTree>
    <p:extLst>
      <p:ext uri="{BB962C8B-B14F-4D97-AF65-F5344CB8AC3E}">
        <p14:creationId xmlns:p14="http://schemas.microsoft.com/office/powerpoint/2010/main" val="17952553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CE23E57-AF20-335B-A1CB-5069BC5AA11D}"/>
              </a:ext>
            </a:extLst>
          </p:cNvPr>
          <p:cNvSpPr>
            <a:spLocks noGrp="1"/>
          </p:cNvSpPr>
          <p:nvPr>
            <p:ph type="body" sz="quarter" idx="13"/>
          </p:nvPr>
        </p:nvSpPr>
        <p:spPr/>
        <p:txBody>
          <a:bodyPr/>
          <a:lstStyle/>
          <a:p>
            <a:r>
              <a:rPr lang="fr-FR" dirty="0"/>
              <a:t>08</a:t>
            </a:r>
          </a:p>
        </p:txBody>
      </p:sp>
      <p:sp>
        <p:nvSpPr>
          <p:cNvPr id="4" name="Titre 3">
            <a:extLst>
              <a:ext uri="{FF2B5EF4-FFF2-40B4-BE49-F238E27FC236}">
                <a16:creationId xmlns:a16="http://schemas.microsoft.com/office/drawing/2014/main" id="{228D48FB-58A1-FF03-D074-D00F1458F05E}"/>
              </a:ext>
            </a:extLst>
          </p:cNvPr>
          <p:cNvSpPr>
            <a:spLocks noGrp="1"/>
          </p:cNvSpPr>
          <p:nvPr>
            <p:ph type="title"/>
          </p:nvPr>
        </p:nvSpPr>
        <p:spPr/>
        <p:txBody>
          <a:bodyPr/>
          <a:lstStyle/>
          <a:p>
            <a:r>
              <a:rPr lang="fr-FR" dirty="0"/>
              <a:t>Tests</a:t>
            </a:r>
          </a:p>
        </p:txBody>
      </p:sp>
      <p:pic>
        <p:nvPicPr>
          <p:cNvPr id="5" name="Image 4">
            <a:extLst>
              <a:ext uri="{FF2B5EF4-FFF2-40B4-BE49-F238E27FC236}">
                <a16:creationId xmlns:a16="http://schemas.microsoft.com/office/drawing/2014/main" id="{72B6FC24-9E20-BA9F-0E23-0BF80099E683}"/>
              </a:ext>
            </a:extLst>
          </p:cNvPr>
          <p:cNvPicPr>
            <a:picLocks noChangeAspect="1"/>
          </p:cNvPicPr>
          <p:nvPr/>
        </p:nvPicPr>
        <p:blipFill>
          <a:blip r:embed="rId2"/>
          <a:stretch>
            <a:fillRect/>
          </a:stretch>
        </p:blipFill>
        <p:spPr>
          <a:xfrm>
            <a:off x="7569302" y="6032500"/>
            <a:ext cx="2336698" cy="825500"/>
          </a:xfrm>
          <a:prstGeom prst="rect">
            <a:avLst/>
          </a:prstGeom>
        </p:spPr>
      </p:pic>
    </p:spTree>
    <p:extLst>
      <p:ext uri="{BB962C8B-B14F-4D97-AF65-F5344CB8AC3E}">
        <p14:creationId xmlns:p14="http://schemas.microsoft.com/office/powerpoint/2010/main" val="159586312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64AB8D-341E-AC98-2FE2-02F9FACB9BAC}"/>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9104D4CF-778A-4AC6-59C3-1B94C98D880A}"/>
              </a:ext>
            </a:extLst>
          </p:cNvPr>
          <p:cNvSpPr>
            <a:spLocks noGrp="1"/>
          </p:cNvSpPr>
          <p:nvPr>
            <p:ph type="body" sz="quarter" idx="14"/>
          </p:nvPr>
        </p:nvSpPr>
        <p:spPr>
          <a:xfrm>
            <a:off x="549473" y="1989474"/>
            <a:ext cx="8694148" cy="1819716"/>
          </a:xfrm>
        </p:spPr>
        <p:txBody>
          <a:bodyPr/>
          <a:lstStyle/>
          <a:p>
            <a:r>
              <a:rPr lang="fr-FR" sz="1800" b="0" i="0" u="none" strike="noStrike" baseline="0" dirty="0">
                <a:solidFill>
                  <a:srgbClr val="212C49"/>
                </a:solidFill>
                <a:latin typeface="Calibri" panose="020F0502020204030204" pitchFamily="34" charset="0"/>
              </a:rPr>
              <a:t>Avec l’aide du testeur de l’équipe de la Squad 3, j’ai préparé des </a:t>
            </a:r>
            <a:r>
              <a:rPr lang="fr-FR" sz="1800" b="1" i="0" u="none" strike="noStrike" baseline="0" dirty="0">
                <a:solidFill>
                  <a:srgbClr val="212C49"/>
                </a:solidFill>
                <a:latin typeface="Calibri" panose="020F0502020204030204" pitchFamily="34" charset="0"/>
              </a:rPr>
              <a:t>plans de tests </a:t>
            </a:r>
            <a:r>
              <a:rPr lang="fr-FR" sz="1800" b="0" i="0" u="none" strike="noStrike" baseline="0" dirty="0">
                <a:solidFill>
                  <a:srgbClr val="212C49"/>
                </a:solidFill>
                <a:latin typeface="Calibri" panose="020F0502020204030204" pitchFamily="34" charset="0"/>
              </a:rPr>
              <a:t>à exécuter à la </a:t>
            </a:r>
            <a:r>
              <a:rPr lang="fr-FR" sz="1800" b="1" i="0" u="none" strike="noStrike" baseline="0" dirty="0">
                <a:solidFill>
                  <a:srgbClr val="212C49"/>
                </a:solidFill>
                <a:latin typeface="Calibri" panose="020F0502020204030204" pitchFamily="34" charset="0"/>
              </a:rPr>
              <a:t>phase de validation</a:t>
            </a:r>
            <a:r>
              <a:rPr lang="fr-FR" sz="1800" b="0" i="0" u="none" strike="noStrike" baseline="0" dirty="0">
                <a:solidFill>
                  <a:srgbClr val="212C49"/>
                </a:solidFill>
                <a:latin typeface="Calibri" panose="020F0502020204030204" pitchFamily="34" charset="0"/>
              </a:rPr>
              <a:t>, avant la recette, pour répondre directement au cahier des charges fonctionnel.</a:t>
            </a:r>
          </a:p>
          <a:p>
            <a:endParaRPr lang="fr-FR" sz="1800" dirty="0">
              <a:solidFill>
                <a:srgbClr val="212C49"/>
              </a:solidFill>
              <a:latin typeface="Calibri" panose="020F0502020204030204" pitchFamily="34" charset="0"/>
            </a:endParaRPr>
          </a:p>
          <a:p>
            <a:r>
              <a:rPr lang="fr-FR" sz="1800" b="0" i="0" u="none" strike="noStrike" baseline="0" dirty="0">
                <a:solidFill>
                  <a:srgbClr val="212C49"/>
                </a:solidFill>
                <a:latin typeface="Calibri" panose="020F0502020204030204" pitchFamily="34" charset="0"/>
              </a:rPr>
              <a:t> Je les ai mis en place grâce à </a:t>
            </a:r>
            <a:r>
              <a:rPr lang="fr-FR" sz="1800" b="1" i="0" u="none" strike="noStrike" baseline="0" dirty="0">
                <a:solidFill>
                  <a:srgbClr val="212C49"/>
                </a:solidFill>
                <a:latin typeface="Calibri" panose="020F0502020204030204" pitchFamily="34" charset="0"/>
              </a:rPr>
              <a:t>JIRA</a:t>
            </a:r>
            <a:r>
              <a:rPr lang="fr-FR" sz="1800" b="0" i="0" u="none" strike="noStrike" baseline="0" dirty="0">
                <a:solidFill>
                  <a:srgbClr val="212C49"/>
                </a:solidFill>
                <a:latin typeface="Calibri" panose="020F0502020204030204" pitchFamily="34" charset="0"/>
              </a:rPr>
              <a:t> en passant dans le </a:t>
            </a:r>
            <a:r>
              <a:rPr lang="fr-FR" sz="1800" b="1" i="0" u="none" strike="noStrike" baseline="0" dirty="0">
                <a:solidFill>
                  <a:srgbClr val="212C49"/>
                </a:solidFill>
                <a:latin typeface="Calibri" panose="020F0502020204030204" pitchFamily="34" charset="0"/>
              </a:rPr>
              <a:t>kanban de conception de test</a:t>
            </a:r>
            <a:r>
              <a:rPr lang="fr-FR" sz="1800" b="0" i="0" u="none" strike="noStrike" baseline="0" dirty="0">
                <a:solidFill>
                  <a:srgbClr val="212C49"/>
                </a:solidFill>
                <a:latin typeface="Calibri" panose="020F0502020204030204" pitchFamily="34" charset="0"/>
              </a:rPr>
              <a:t>. </a:t>
            </a:r>
            <a:endParaRPr lang="fr-FR" dirty="0"/>
          </a:p>
        </p:txBody>
      </p:sp>
    </p:spTree>
    <p:extLst>
      <p:ext uri="{BB962C8B-B14F-4D97-AF65-F5344CB8AC3E}">
        <p14:creationId xmlns:p14="http://schemas.microsoft.com/office/powerpoint/2010/main" val="156461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5129404-3657-97D2-783D-9EA1049601FF}"/>
              </a:ext>
            </a:extLst>
          </p:cNvPr>
          <p:cNvSpPr>
            <a:spLocks noGrp="1"/>
          </p:cNvSpPr>
          <p:nvPr>
            <p:ph type="title"/>
          </p:nvPr>
        </p:nvSpPr>
        <p:spPr/>
        <p:txBody>
          <a:bodyPr/>
          <a:lstStyle/>
          <a:p>
            <a:r>
              <a:rPr lang="fr-FR" dirty="0"/>
              <a:t>Présentation du projet</a:t>
            </a:r>
            <a:br>
              <a:rPr lang="fr-FR" dirty="0"/>
            </a:br>
            <a:endParaRPr lang="fr-FR" dirty="0"/>
          </a:p>
        </p:txBody>
      </p:sp>
      <p:sp>
        <p:nvSpPr>
          <p:cNvPr id="5" name="Espace réservé du texte 4">
            <a:extLst>
              <a:ext uri="{FF2B5EF4-FFF2-40B4-BE49-F238E27FC236}">
                <a16:creationId xmlns:a16="http://schemas.microsoft.com/office/drawing/2014/main" id="{2B2905FD-47CD-676A-02D6-56FC95E7297C}"/>
              </a:ext>
            </a:extLst>
          </p:cNvPr>
          <p:cNvSpPr>
            <a:spLocks noGrp="1"/>
          </p:cNvSpPr>
          <p:nvPr>
            <p:ph type="body" sz="quarter" idx="13"/>
          </p:nvPr>
        </p:nvSpPr>
        <p:spPr/>
        <p:txBody>
          <a:bodyPr/>
          <a:lstStyle/>
          <a:p>
            <a:r>
              <a:rPr lang="fr-FR" dirty="0"/>
              <a:t>02</a:t>
            </a:r>
          </a:p>
        </p:txBody>
      </p:sp>
      <p:pic>
        <p:nvPicPr>
          <p:cNvPr id="6" name="Image 5">
            <a:extLst>
              <a:ext uri="{FF2B5EF4-FFF2-40B4-BE49-F238E27FC236}">
                <a16:creationId xmlns:a16="http://schemas.microsoft.com/office/drawing/2014/main" id="{BC9EE7E6-552C-D865-042F-98DEAF4BC902}"/>
              </a:ext>
            </a:extLst>
          </p:cNvPr>
          <p:cNvPicPr>
            <a:picLocks noChangeAspect="1"/>
          </p:cNvPicPr>
          <p:nvPr/>
        </p:nvPicPr>
        <p:blipFill>
          <a:blip r:embed="rId2"/>
          <a:stretch>
            <a:fillRect/>
          </a:stretch>
        </p:blipFill>
        <p:spPr>
          <a:xfrm>
            <a:off x="7569303" y="6089650"/>
            <a:ext cx="2336698" cy="825500"/>
          </a:xfrm>
          <a:prstGeom prst="rect">
            <a:avLst/>
          </a:prstGeom>
        </p:spPr>
      </p:pic>
    </p:spTree>
    <p:extLst>
      <p:ext uri="{BB962C8B-B14F-4D97-AF65-F5344CB8AC3E}">
        <p14:creationId xmlns:p14="http://schemas.microsoft.com/office/powerpoint/2010/main" val="42842058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806F7-A3BB-224C-2797-31B2065F2160}"/>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C9F1DE6F-E64F-C54C-AD8C-5A590E95CC5D}"/>
              </a:ext>
            </a:extLst>
          </p:cNvPr>
          <p:cNvSpPr>
            <a:spLocks noGrp="1"/>
          </p:cNvSpPr>
          <p:nvPr>
            <p:ph type="body" sz="quarter" idx="14"/>
          </p:nvPr>
        </p:nvSpPr>
        <p:spPr>
          <a:xfrm>
            <a:off x="549473" y="1379874"/>
            <a:ext cx="8694148" cy="700435"/>
          </a:xfrm>
        </p:spPr>
        <p:txBody>
          <a:bodyPr/>
          <a:lstStyle/>
          <a:p>
            <a:r>
              <a:rPr lang="fr-FR" sz="1800" b="0" i="0" u="none" strike="noStrike" baseline="0" dirty="0">
                <a:solidFill>
                  <a:srgbClr val="212C49"/>
                </a:solidFill>
                <a:latin typeface="Calibri" panose="020F0502020204030204" pitchFamily="34" charset="0"/>
              </a:rPr>
              <a:t>Par exemple j’ai créé le test </a:t>
            </a:r>
            <a:r>
              <a:rPr lang="fr-FR" sz="1800" b="1" i="0" u="none" strike="noStrike" baseline="0" dirty="0">
                <a:solidFill>
                  <a:srgbClr val="212C49"/>
                </a:solidFill>
                <a:latin typeface="Calibri" panose="020F0502020204030204" pitchFamily="34" charset="0"/>
              </a:rPr>
              <a:t>TV-1 </a:t>
            </a:r>
            <a:r>
              <a:rPr lang="fr-FR" sz="1800" b="0" i="0" u="none" strike="noStrike" baseline="0" dirty="0">
                <a:solidFill>
                  <a:srgbClr val="212C49"/>
                </a:solidFill>
                <a:latin typeface="Calibri" panose="020F0502020204030204" pitchFamily="34" charset="0"/>
              </a:rPr>
              <a:t>concernant l’évolution </a:t>
            </a:r>
            <a:r>
              <a:rPr lang="fr-FR" sz="1800" b="1" i="0" u="none" strike="noStrike" baseline="0" dirty="0">
                <a:solidFill>
                  <a:srgbClr val="212C49"/>
                </a:solidFill>
                <a:latin typeface="Calibri" panose="020F0502020204030204" pitchFamily="34" charset="0"/>
              </a:rPr>
              <a:t>PR-1 </a:t>
            </a:r>
            <a:r>
              <a:rPr lang="fr-FR" sz="1800" b="0" i="0" u="none" strike="noStrike" baseline="0" dirty="0">
                <a:solidFill>
                  <a:srgbClr val="212C49"/>
                </a:solidFill>
                <a:latin typeface="Calibri" panose="020F0502020204030204" pitchFamily="34" charset="0"/>
              </a:rPr>
              <a:t>en détaillant les étapes à effectuer (Action, Données, Résultat Attendu). </a:t>
            </a:r>
            <a:endParaRPr lang="fr-FR" dirty="0"/>
          </a:p>
        </p:txBody>
      </p:sp>
      <p:pic>
        <p:nvPicPr>
          <p:cNvPr id="5" name="Image 4">
            <a:extLst>
              <a:ext uri="{FF2B5EF4-FFF2-40B4-BE49-F238E27FC236}">
                <a16:creationId xmlns:a16="http://schemas.microsoft.com/office/drawing/2014/main" id="{E786C582-B5E2-D411-E239-8EE994C2811C}"/>
              </a:ext>
            </a:extLst>
          </p:cNvPr>
          <p:cNvPicPr>
            <a:picLocks noChangeAspect="1"/>
          </p:cNvPicPr>
          <p:nvPr/>
        </p:nvPicPr>
        <p:blipFill>
          <a:blip r:embed="rId2"/>
          <a:stretch>
            <a:fillRect/>
          </a:stretch>
        </p:blipFill>
        <p:spPr>
          <a:xfrm>
            <a:off x="549473" y="2237043"/>
            <a:ext cx="6365677" cy="3515508"/>
          </a:xfrm>
          <a:prstGeom prst="rect">
            <a:avLst/>
          </a:prstGeom>
        </p:spPr>
      </p:pic>
    </p:spTree>
    <p:extLst>
      <p:ext uri="{BB962C8B-B14F-4D97-AF65-F5344CB8AC3E}">
        <p14:creationId xmlns:p14="http://schemas.microsoft.com/office/powerpoint/2010/main" val="13877179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1F3E48-9542-0EC6-E700-C10379E99EB8}"/>
              </a:ext>
            </a:extLst>
          </p:cNvPr>
          <p:cNvSpPr>
            <a:spLocks noGrp="1"/>
          </p:cNvSpPr>
          <p:nvPr>
            <p:ph type="ctrTitle"/>
          </p:nvPr>
        </p:nvSpPr>
        <p:spPr/>
        <p:txBody>
          <a:bodyPr/>
          <a:lstStyle/>
          <a:p>
            <a:r>
              <a:rPr lang="fr-FR" dirty="0"/>
              <a:t>Tests</a:t>
            </a:r>
          </a:p>
        </p:txBody>
      </p:sp>
      <p:sp>
        <p:nvSpPr>
          <p:cNvPr id="3" name="Espace réservé du texte 2">
            <a:extLst>
              <a:ext uri="{FF2B5EF4-FFF2-40B4-BE49-F238E27FC236}">
                <a16:creationId xmlns:a16="http://schemas.microsoft.com/office/drawing/2014/main" id="{19BE9881-2750-49B1-079E-573A26022235}"/>
              </a:ext>
            </a:extLst>
          </p:cNvPr>
          <p:cNvSpPr>
            <a:spLocks noGrp="1"/>
          </p:cNvSpPr>
          <p:nvPr>
            <p:ph type="body" sz="quarter" idx="14"/>
          </p:nvPr>
        </p:nvSpPr>
        <p:spPr>
          <a:xfrm>
            <a:off x="549473" y="1176674"/>
            <a:ext cx="8694148" cy="395736"/>
          </a:xfrm>
        </p:spPr>
        <p:txBody>
          <a:bodyPr/>
          <a:lstStyle/>
          <a:p>
            <a:r>
              <a:rPr lang="fr-FR" sz="1800" b="0" i="0" u="none" strike="noStrike" baseline="0" dirty="0">
                <a:solidFill>
                  <a:srgbClr val="212C49"/>
                </a:solidFill>
                <a:latin typeface="Calibri" panose="020F0502020204030204" pitchFamily="34" charset="0"/>
              </a:rPr>
              <a:t>Puis j’ai conçu un plan de test et une exécution de test en liant le test TV-1 </a:t>
            </a:r>
            <a:endParaRPr lang="fr-FR" dirty="0"/>
          </a:p>
        </p:txBody>
      </p:sp>
      <p:pic>
        <p:nvPicPr>
          <p:cNvPr id="5" name="Image 4">
            <a:extLst>
              <a:ext uri="{FF2B5EF4-FFF2-40B4-BE49-F238E27FC236}">
                <a16:creationId xmlns:a16="http://schemas.microsoft.com/office/drawing/2014/main" id="{8A916785-1CA2-00A2-77C4-4F04B1C75179}"/>
              </a:ext>
            </a:extLst>
          </p:cNvPr>
          <p:cNvPicPr>
            <a:picLocks noChangeAspect="1"/>
          </p:cNvPicPr>
          <p:nvPr/>
        </p:nvPicPr>
        <p:blipFill>
          <a:blip r:embed="rId2"/>
          <a:stretch>
            <a:fillRect/>
          </a:stretch>
        </p:blipFill>
        <p:spPr>
          <a:xfrm>
            <a:off x="549473" y="1643831"/>
            <a:ext cx="8575477" cy="888343"/>
          </a:xfrm>
          <a:prstGeom prst="rect">
            <a:avLst/>
          </a:prstGeom>
        </p:spPr>
      </p:pic>
      <p:pic>
        <p:nvPicPr>
          <p:cNvPr id="7" name="Image 6">
            <a:extLst>
              <a:ext uri="{FF2B5EF4-FFF2-40B4-BE49-F238E27FC236}">
                <a16:creationId xmlns:a16="http://schemas.microsoft.com/office/drawing/2014/main" id="{B734F366-E9C6-F7C4-8E93-96BE1BBE6245}"/>
              </a:ext>
            </a:extLst>
          </p:cNvPr>
          <p:cNvPicPr>
            <a:picLocks noChangeAspect="1"/>
          </p:cNvPicPr>
          <p:nvPr/>
        </p:nvPicPr>
        <p:blipFill>
          <a:blip r:embed="rId3"/>
          <a:stretch>
            <a:fillRect/>
          </a:stretch>
        </p:blipFill>
        <p:spPr>
          <a:xfrm>
            <a:off x="0" y="3035300"/>
            <a:ext cx="8915315" cy="3822700"/>
          </a:xfrm>
          <a:prstGeom prst="rect">
            <a:avLst/>
          </a:prstGeom>
        </p:spPr>
      </p:pic>
    </p:spTree>
    <p:extLst>
      <p:ext uri="{BB962C8B-B14F-4D97-AF65-F5344CB8AC3E}">
        <p14:creationId xmlns:p14="http://schemas.microsoft.com/office/powerpoint/2010/main" val="41878436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4B9106-B192-9E38-40A2-22618D47DBC7}"/>
              </a:ext>
            </a:extLst>
          </p:cNvPr>
          <p:cNvSpPr>
            <a:spLocks noGrp="1"/>
          </p:cNvSpPr>
          <p:nvPr>
            <p:ph type="title"/>
          </p:nvPr>
        </p:nvSpPr>
        <p:spPr/>
        <p:txBody>
          <a:bodyPr/>
          <a:lstStyle/>
          <a:p>
            <a:r>
              <a:rPr lang="fr-FR" dirty="0"/>
              <a:t>Bilan du projet</a:t>
            </a:r>
          </a:p>
        </p:txBody>
      </p:sp>
      <p:sp>
        <p:nvSpPr>
          <p:cNvPr id="5" name="Espace réservé du texte 4">
            <a:extLst>
              <a:ext uri="{FF2B5EF4-FFF2-40B4-BE49-F238E27FC236}">
                <a16:creationId xmlns:a16="http://schemas.microsoft.com/office/drawing/2014/main" id="{FE9F8585-4F6C-EBF5-559C-03A19588ACC4}"/>
              </a:ext>
            </a:extLst>
          </p:cNvPr>
          <p:cNvSpPr>
            <a:spLocks noGrp="1"/>
          </p:cNvSpPr>
          <p:nvPr>
            <p:ph type="body" sz="quarter" idx="13"/>
          </p:nvPr>
        </p:nvSpPr>
        <p:spPr/>
        <p:txBody>
          <a:bodyPr/>
          <a:lstStyle/>
          <a:p>
            <a:r>
              <a:rPr lang="fr-FR" dirty="0"/>
              <a:t>09</a:t>
            </a:r>
          </a:p>
        </p:txBody>
      </p:sp>
      <p:pic>
        <p:nvPicPr>
          <p:cNvPr id="6" name="Image 5">
            <a:extLst>
              <a:ext uri="{FF2B5EF4-FFF2-40B4-BE49-F238E27FC236}">
                <a16:creationId xmlns:a16="http://schemas.microsoft.com/office/drawing/2014/main" id="{EC39508A-3DB3-09D3-8770-AEE492C2012E}"/>
              </a:ext>
            </a:extLst>
          </p:cNvPr>
          <p:cNvPicPr>
            <a:picLocks noChangeAspect="1"/>
          </p:cNvPicPr>
          <p:nvPr/>
        </p:nvPicPr>
        <p:blipFill>
          <a:blip r:embed="rId2"/>
          <a:stretch>
            <a:fillRect/>
          </a:stretch>
        </p:blipFill>
        <p:spPr>
          <a:xfrm>
            <a:off x="7569302" y="6076950"/>
            <a:ext cx="2336698" cy="825500"/>
          </a:xfrm>
          <a:prstGeom prst="rect">
            <a:avLst/>
          </a:prstGeom>
        </p:spPr>
      </p:pic>
    </p:spTree>
    <p:extLst>
      <p:ext uri="{BB962C8B-B14F-4D97-AF65-F5344CB8AC3E}">
        <p14:creationId xmlns:p14="http://schemas.microsoft.com/office/powerpoint/2010/main" val="311463024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D7B8AB-481F-61FA-12AE-2E1E50A575E2}"/>
              </a:ext>
            </a:extLst>
          </p:cNvPr>
          <p:cNvSpPr>
            <a:spLocks noGrp="1"/>
          </p:cNvSpPr>
          <p:nvPr>
            <p:ph type="ctrTitle"/>
          </p:nvPr>
        </p:nvSpPr>
        <p:spPr/>
        <p:txBody>
          <a:bodyPr/>
          <a:lstStyle/>
          <a:p>
            <a:r>
              <a:rPr lang="fr-FR" dirty="0"/>
              <a:t>Bilan du projet</a:t>
            </a:r>
          </a:p>
        </p:txBody>
      </p:sp>
      <p:sp>
        <p:nvSpPr>
          <p:cNvPr id="3" name="Espace réservé du texte 2">
            <a:extLst>
              <a:ext uri="{FF2B5EF4-FFF2-40B4-BE49-F238E27FC236}">
                <a16:creationId xmlns:a16="http://schemas.microsoft.com/office/drawing/2014/main" id="{058985B6-2615-F928-6488-76F2A3294412}"/>
              </a:ext>
            </a:extLst>
          </p:cNvPr>
          <p:cNvSpPr>
            <a:spLocks noGrp="1"/>
          </p:cNvSpPr>
          <p:nvPr>
            <p:ph type="body" sz="quarter" idx="14"/>
          </p:nvPr>
        </p:nvSpPr>
        <p:spPr>
          <a:xfrm>
            <a:off x="549473" y="1989474"/>
            <a:ext cx="8694148" cy="2519907"/>
          </a:xfrm>
        </p:spPr>
        <p:txBody>
          <a:bodyPr/>
          <a:lstStyle/>
          <a:p>
            <a:r>
              <a:rPr lang="fr-FR" dirty="0"/>
              <a:t>Les objectifs fixés initialement n’ont pas tous été atteints et il a été reconnu par mes responsables que de nombreuses contraintes non anticipées m’ont empêché d’y parvenir.</a:t>
            </a:r>
          </a:p>
          <a:p>
            <a:r>
              <a:rPr lang="fr-FR" dirty="0"/>
              <a:t>La dernière semaine de mon stage, j’ai fait un transfert de connaissance du projet à deux autres développeurs de mon équipe qui ont pris en charge le reste des évolutions à faire. On a pu valider ensemble le travail que j’avais effectué et échanger pour définir la stratégie pour livrer toutes les améliorations à la date prévue.</a:t>
            </a:r>
          </a:p>
          <a:p>
            <a:r>
              <a:rPr lang="fr-FR" dirty="0"/>
              <a:t>Au terme de ce stage, j’ai réussi à prendre en main les différentes technologies du périmètre pour la réalisation du projet, même si au départ ça m’a demandé beaucoup de temps.</a:t>
            </a:r>
          </a:p>
        </p:txBody>
      </p:sp>
    </p:spTree>
    <p:extLst>
      <p:ext uri="{BB962C8B-B14F-4D97-AF65-F5344CB8AC3E}">
        <p14:creationId xmlns:p14="http://schemas.microsoft.com/office/powerpoint/2010/main" val="41591578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0D7AFF-4EDB-EF56-E49E-E9E2ABDF046C}"/>
              </a:ext>
            </a:extLst>
          </p:cNvPr>
          <p:cNvSpPr>
            <a:spLocks noGrp="1"/>
          </p:cNvSpPr>
          <p:nvPr>
            <p:ph type="ctrTitle"/>
          </p:nvPr>
        </p:nvSpPr>
        <p:spPr/>
        <p:txBody>
          <a:bodyPr/>
          <a:lstStyle/>
          <a:p>
            <a:r>
              <a:rPr lang="fr-FR" dirty="0"/>
              <a:t>Bilan personnel et perspectives</a:t>
            </a:r>
          </a:p>
        </p:txBody>
      </p:sp>
      <p:sp>
        <p:nvSpPr>
          <p:cNvPr id="3" name="Espace réservé du texte 2">
            <a:extLst>
              <a:ext uri="{FF2B5EF4-FFF2-40B4-BE49-F238E27FC236}">
                <a16:creationId xmlns:a16="http://schemas.microsoft.com/office/drawing/2014/main" id="{AAB6A25A-A3DF-D999-CCA9-FCADB59C47D1}"/>
              </a:ext>
            </a:extLst>
          </p:cNvPr>
          <p:cNvSpPr>
            <a:spLocks noGrp="1"/>
          </p:cNvSpPr>
          <p:nvPr>
            <p:ph type="body" sz="quarter" idx="14"/>
          </p:nvPr>
        </p:nvSpPr>
        <p:spPr>
          <a:xfrm>
            <a:off x="549473" y="1989474"/>
            <a:ext cx="8694148" cy="4424026"/>
          </a:xfrm>
        </p:spPr>
        <p:txBody>
          <a:bodyPr/>
          <a:lstStyle/>
          <a:p>
            <a:r>
              <a:rPr lang="fr-FR" dirty="0"/>
              <a:t>Les 3 mois que j’ai passé en stage au sein d’Inetum se sont écoulés rapidement de mon point de vue. J’ai particulièrement apprécié la collaboration et l’esprit de groupe qui régnait dans mon équipe. Je suis satisfait d’avoir mené à bien une partie des tâches qui m’ont été confiées.</a:t>
            </a:r>
          </a:p>
          <a:p>
            <a:r>
              <a:rPr lang="fr-FR" dirty="0"/>
              <a:t>Cette première expérience m’a permis de mobiliser l’ensemble des compétence acquises durant ma formation, de les approfondir, de gagner en autonomie, d’élargir mes compétences en abordant des technologies telles que docker, </a:t>
            </a:r>
            <a:r>
              <a:rPr lang="fr-FR" dirty="0" err="1"/>
              <a:t>jenkins</a:t>
            </a:r>
            <a:r>
              <a:rPr lang="fr-FR" dirty="0"/>
              <a:t> ou la plateforme azure.</a:t>
            </a:r>
          </a:p>
          <a:p>
            <a:r>
              <a:rPr lang="fr-FR" dirty="0"/>
              <a:t>Cette expérience m’a aussi permis de découvrir le monde du développement dans une entreprise dédiée au numérique et d’interagir avec les acteurs du projet, responsable de service, chef de projet et équipes de développement. Tous ensemble, ils ont enrichi ma vision de ce milieu, m’ont convaincu de l’importance d’une bonne communication et su me confirmer mon goût pour le développement d’applications.</a:t>
            </a:r>
          </a:p>
          <a:p>
            <a:r>
              <a:rPr lang="fr-FR" dirty="0"/>
              <a:t>Enfin, la fin de mon stage s’est soldée par un retour positif de la part de mes responsables et de mon équipe. J’ai eu une proposition de CDI que j’ai acceptée. C’est donc confiant que j’aborde la suite pour progresser jusqu’à l’autonomie complète.</a:t>
            </a:r>
          </a:p>
        </p:txBody>
      </p:sp>
    </p:spTree>
    <p:extLst>
      <p:ext uri="{BB962C8B-B14F-4D97-AF65-F5344CB8AC3E}">
        <p14:creationId xmlns:p14="http://schemas.microsoft.com/office/powerpoint/2010/main" val="75376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rganisation DSO AVV et INDUS V3">
  <a:themeElements>
    <a:clrScheme name="Personnalisé 1">
      <a:dk1>
        <a:srgbClr val="303F48"/>
      </a:dk1>
      <a:lt1>
        <a:srgbClr val="FFFFFF"/>
      </a:lt1>
      <a:dk2>
        <a:srgbClr val="242424"/>
      </a:dk2>
      <a:lt2>
        <a:srgbClr val="5C5C5C"/>
      </a:lt2>
      <a:accent1>
        <a:srgbClr val="F57100"/>
      </a:accent1>
      <a:accent2>
        <a:srgbClr val="FFB04C"/>
      </a:accent2>
      <a:accent3>
        <a:srgbClr val="579696"/>
      </a:accent3>
      <a:accent4>
        <a:srgbClr val="303F48"/>
      </a:accent4>
      <a:accent5>
        <a:srgbClr val="C00000"/>
      </a:accent5>
      <a:accent6>
        <a:srgbClr val="FF5800"/>
      </a:accent6>
      <a:hlink>
        <a:srgbClr val="00ACED"/>
      </a:hlink>
      <a:folHlink>
        <a:srgbClr val="FFB04C"/>
      </a:folHlink>
    </a:clrScheme>
    <a:fontScheme name="Thèm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NETUM">
  <a:themeElements>
    <a:clrScheme name="Custom 7">
      <a:dk1>
        <a:sysClr val="windowText" lastClr="000000"/>
      </a:dk1>
      <a:lt1>
        <a:sysClr val="window" lastClr="FFFFFF"/>
      </a:lt1>
      <a:dk2>
        <a:srgbClr val="222C4A"/>
      </a:dk2>
      <a:lt2>
        <a:srgbClr val="EDEDED"/>
      </a:lt2>
      <a:accent1>
        <a:srgbClr val="00AA9B"/>
      </a:accent1>
      <a:accent2>
        <a:srgbClr val="EF4641"/>
      </a:accent2>
      <a:accent3>
        <a:srgbClr val="005473"/>
      </a:accent3>
      <a:accent4>
        <a:srgbClr val="8064A2"/>
      </a:accent4>
      <a:accent5>
        <a:srgbClr val="4BACC6"/>
      </a:accent5>
      <a:accent6>
        <a:srgbClr val="F79646"/>
      </a:accent6>
      <a:hlink>
        <a:srgbClr val="EF4641"/>
      </a:hlink>
      <a:folHlink>
        <a:srgbClr val="EF4641"/>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F1A3114A48C843BF13F4DF3916E5DC" ma:contentTypeVersion="16" ma:contentTypeDescription="Crée un document." ma:contentTypeScope="" ma:versionID="4755d9cefebb30b893345e3fd665ce05">
  <xsd:schema xmlns:xsd="http://www.w3.org/2001/XMLSchema" xmlns:xs="http://www.w3.org/2001/XMLSchema" xmlns:p="http://schemas.microsoft.com/office/2006/metadata/properties" xmlns:ns2="0080b14c-e694-4d3d-b923-78c37d01f8ea" xmlns:ns3="69b03830-5364-428d-bcb4-8f0273384e3e" xmlns:ns4="d65a72c7-7e11-44a4-8e3c-315ae3158d34" targetNamespace="http://schemas.microsoft.com/office/2006/metadata/properties" ma:root="true" ma:fieldsID="1b49e0e514859102363cbc34710d2b78" ns2:_="" ns3:_="" ns4:_="">
    <xsd:import namespace="0080b14c-e694-4d3d-b923-78c37d01f8ea"/>
    <xsd:import namespace="69b03830-5364-428d-bcb4-8f0273384e3e"/>
    <xsd:import namespace="d65a72c7-7e11-44a4-8e3c-315ae3158d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80b14c-e694-4d3d-b923-78c37d01f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dece1a9e-e829-42a2-80ca-4303f8678de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b03830-5364-428d-bcb4-8f0273384e3e"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5a72c7-7e11-44a4-8e3c-315ae3158d3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5c8990a-54d1-4e1e-a979-849856e11e93}" ma:internalName="TaxCatchAll" ma:showField="CatchAllData" ma:web="69b03830-5364-428d-bcb4-8f0273384e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b03830-5364-428d-bcb4-8f0273384e3e">
      <UserInfo>
        <DisplayName/>
        <AccountId xsi:nil="true"/>
        <AccountType/>
      </UserInfo>
    </SharedWithUsers>
    <lcf76f155ced4ddcb4097134ff3c332f xmlns="0080b14c-e694-4d3d-b923-78c37d01f8ea">
      <Terms xmlns="http://schemas.microsoft.com/office/infopath/2007/PartnerControls"/>
    </lcf76f155ced4ddcb4097134ff3c332f>
    <TaxCatchAll xmlns="d65a72c7-7e11-44a4-8e3c-315ae3158d34" xsi:nil="true"/>
  </documentManagement>
</p:properties>
</file>

<file path=customXml/itemProps1.xml><?xml version="1.0" encoding="utf-8"?>
<ds:datastoreItem xmlns:ds="http://schemas.openxmlformats.org/officeDocument/2006/customXml" ds:itemID="{4943F408-0C35-4C68-992E-47560AEC89DF}">
  <ds:schemaRefs>
    <ds:schemaRef ds:uri="http://schemas.microsoft.com/sharepoint/v3/contenttype/forms"/>
  </ds:schemaRefs>
</ds:datastoreItem>
</file>

<file path=customXml/itemProps2.xml><?xml version="1.0" encoding="utf-8"?>
<ds:datastoreItem xmlns:ds="http://schemas.openxmlformats.org/officeDocument/2006/customXml" ds:itemID="{E0291EE3-D1F6-4548-B817-28D936DF07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80b14c-e694-4d3d-b923-78c37d01f8ea"/>
    <ds:schemaRef ds:uri="69b03830-5364-428d-bcb4-8f0273384e3e"/>
    <ds:schemaRef ds:uri="d65a72c7-7e11-44a4-8e3c-315ae3158d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0823C4-8115-42D1-AEB0-1F2EBF78568B}">
  <ds:schemaRefs>
    <ds:schemaRef ds:uri="http://schemas.microsoft.com/office/2006/metadata/properties"/>
    <ds:schemaRef ds:uri="http://schemas.microsoft.com/office/infopath/2007/PartnerControls"/>
    <ds:schemaRef ds:uri="69b03830-5364-428d-bcb4-8f0273384e3e"/>
    <ds:schemaRef ds:uri="0080b14c-e694-4d3d-b923-78c37d01f8ea"/>
    <ds:schemaRef ds:uri="d65a72c7-7e11-44a4-8e3c-315ae3158d34"/>
  </ds:schemaRefs>
</ds:datastoreItem>
</file>

<file path=docProps/app.xml><?xml version="1.0" encoding="utf-8"?>
<Properties xmlns="http://schemas.openxmlformats.org/officeDocument/2006/extended-properties" xmlns:vt="http://schemas.openxmlformats.org/officeDocument/2006/docPropsVTypes">
  <Template>Organisation DSO AVV et INDUS V3</Template>
  <TotalTime>1383</TotalTime>
  <Words>4670</Words>
  <Application>Microsoft Office PowerPoint</Application>
  <PresentationFormat>Format A4 (210 x 297 mm)</PresentationFormat>
  <Paragraphs>426</Paragraphs>
  <Slides>94</Slides>
  <Notes>5</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94</vt:i4>
      </vt:variant>
    </vt:vector>
  </HeadingPairs>
  <TitlesOfParts>
    <vt:vector size="107" baseType="lpstr">
      <vt:lpstr>Arial</vt:lpstr>
      <vt:lpstr>Calibri</vt:lpstr>
      <vt:lpstr>Lucida Grande</vt:lpstr>
      <vt:lpstr>Myriad Pro</vt:lpstr>
      <vt:lpstr>Tahoma</vt:lpstr>
      <vt:lpstr>Verdana</vt:lpstr>
      <vt:lpstr>Wingdings</vt:lpstr>
      <vt:lpstr>Organisation DSO AVV et INDUS V3</vt:lpstr>
      <vt:lpstr>1_INETUM</vt:lpstr>
      <vt:lpstr>1_INETUM</vt:lpstr>
      <vt:lpstr>1_INETUM</vt:lpstr>
      <vt:lpstr>1_INETUM</vt:lpstr>
      <vt:lpstr>think-cell Slide</vt:lpstr>
      <vt:lpstr>Hub Entreprendre</vt:lpstr>
      <vt:lpstr>Sommaire</vt:lpstr>
      <vt:lpstr>Présentation de l’entreprise</vt:lpstr>
      <vt:lpstr>Historique et présentation du groupe</vt:lpstr>
      <vt:lpstr>En France</vt:lpstr>
      <vt:lpstr>L’Agence</vt:lpstr>
      <vt:lpstr>Organisation des services</vt:lpstr>
      <vt:lpstr>Squad 3</vt:lpstr>
      <vt:lpstr>Présentation du projet </vt:lpstr>
      <vt:lpstr>Enjeu stratégique pour le Conseil Régional d’Occitanie</vt:lpstr>
      <vt:lpstr>La plateforme Entreprise</vt:lpstr>
      <vt:lpstr>Hub Entreprendre</vt:lpstr>
      <vt:lpstr>Cahier des charges</vt:lpstr>
      <vt:lpstr>Cahier des charges</vt:lpstr>
      <vt:lpstr>Organisation : Squad 3</vt:lpstr>
      <vt:lpstr>Organisation : projet Hub-Entreprendre </vt:lpstr>
      <vt:lpstr>Organisation : projet Hub-Entreprendre </vt:lpstr>
      <vt:lpstr>Organisation : projet Hub-Entreprendre </vt:lpstr>
      <vt:lpstr>Processus de développement et de test</vt:lpstr>
      <vt:lpstr>Gestion des versions</vt:lpstr>
      <vt:lpstr>Environnement technique</vt:lpstr>
      <vt:lpstr>Echéances et répartition des tâches</vt:lpstr>
      <vt:lpstr>Productions attendues</vt:lpstr>
      <vt:lpstr>Contraintes du projet</vt:lpstr>
      <vt:lpstr>Missions annexes</vt:lpstr>
      <vt:lpstr>CARL Source – Education et Port</vt:lpstr>
      <vt:lpstr>CARL Source – Education et Port</vt:lpstr>
      <vt:lpstr>Présentation PowerPoint</vt:lpstr>
      <vt:lpstr>Conception fonctionnelle</vt:lpstr>
      <vt:lpstr>Pourquoi Conception fonctionnelle ?</vt:lpstr>
      <vt:lpstr>Analyse du besoin – Hub Entreprendre</vt:lpstr>
      <vt:lpstr>Contexte et objectifs du Hub</vt:lpstr>
      <vt:lpstr>Analyse de l’existant du Hub</vt:lpstr>
      <vt:lpstr>Fonctionnalités du Hub</vt:lpstr>
      <vt:lpstr>Fonctionnalités du Hub</vt:lpstr>
      <vt:lpstr>Spécification des besoins fonctionnels</vt:lpstr>
      <vt:lpstr>Présentation PowerPoint</vt:lpstr>
      <vt:lpstr>Spécification des données</vt:lpstr>
      <vt:lpstr>Présentation PowerPoint</vt:lpstr>
      <vt:lpstr>Présentation PowerPoint</vt:lpstr>
      <vt:lpstr>Présentation PowerPoint</vt:lpstr>
      <vt:lpstr>IHM</vt:lpstr>
      <vt:lpstr>Ma Mission</vt:lpstr>
      <vt:lpstr>Maquette et format du fichier</vt:lpstr>
      <vt:lpstr>Cas d’utilisation</vt:lpstr>
      <vt:lpstr>Besoin non fonctionnel</vt:lpstr>
      <vt:lpstr>Conception technique</vt:lpstr>
      <vt:lpstr>Présentation des différents composants de Hub Entreprendre</vt:lpstr>
      <vt:lpstr>Le Backend Hub Entreprendre</vt:lpstr>
      <vt:lpstr>Le Backend Hub Entreprendre</vt:lpstr>
      <vt:lpstr>Le Backend Hub Entreprendre</vt:lpstr>
      <vt:lpstr>Architecture en packages</vt:lpstr>
      <vt:lpstr>Architecture en packages</vt:lpstr>
      <vt:lpstr>Front Back-Office</vt:lpstr>
      <vt:lpstr>Schéma fonctionnement</vt:lpstr>
      <vt:lpstr>Schéma fonctionnement</vt:lpstr>
      <vt:lpstr>Architecture en dossiers</vt:lpstr>
      <vt:lpstr>Présentation PowerPoint</vt:lpstr>
      <vt:lpstr>Fonctionnement général</vt:lpstr>
      <vt:lpstr>Plateforme technique</vt:lpstr>
      <vt:lpstr>Ma mission</vt:lpstr>
      <vt:lpstr>Diagramme de classe</vt:lpstr>
      <vt:lpstr>extraction des dispositifs</vt:lpstr>
      <vt:lpstr>Diagramme de séquence</vt:lpstr>
      <vt:lpstr>extraction des dispositifs</vt:lpstr>
      <vt:lpstr>Implémentation</vt:lpstr>
      <vt:lpstr>PR7 : Extraction des dispositifs</vt:lpstr>
      <vt:lpstr>PR7 : PlanService.ts (Service)</vt:lpstr>
      <vt:lpstr>PR7 : Plan-list-component.ts</vt:lpstr>
      <vt:lpstr>PR7 : Plan-list-component.html</vt:lpstr>
      <vt:lpstr>PR7 : Extraction des dispositifs</vt:lpstr>
      <vt:lpstr>PlanController</vt:lpstr>
      <vt:lpstr>AppAccessControl</vt:lpstr>
      <vt:lpstr>PlanService et PlanServiceImpl</vt:lpstr>
      <vt:lpstr>PlanExportInformation</vt:lpstr>
      <vt:lpstr>Présentation PowerPoint</vt:lpstr>
      <vt:lpstr>PlanExportDTO</vt:lpstr>
      <vt:lpstr>ExportPlan</vt:lpstr>
      <vt:lpstr>ExportService</vt:lpstr>
      <vt:lpstr>ExportServiceImpl</vt:lpstr>
      <vt:lpstr>Présentation PowerPoint</vt:lpstr>
      <vt:lpstr>Présentation PowerPoint</vt:lpstr>
      <vt:lpstr>Deploiement</vt:lpstr>
      <vt:lpstr>CodeP</vt:lpstr>
      <vt:lpstr>Présentation PowerPoint</vt:lpstr>
      <vt:lpstr>Jenkins.file</vt:lpstr>
      <vt:lpstr>deploiement</vt:lpstr>
      <vt:lpstr>Tests</vt:lpstr>
      <vt:lpstr>Tests</vt:lpstr>
      <vt:lpstr>Tests</vt:lpstr>
      <vt:lpstr>Tests</vt:lpstr>
      <vt:lpstr>Bilan du projet</vt:lpstr>
      <vt:lpstr>Bilan du projet</vt:lpstr>
      <vt:lpstr>Bilan personnel et perspective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gramme TMA</dc:title>
  <dc:subject>Masque PowerPoint Gfi 2017</dc:subject>
  <dc:creator>cedric.delrue@gfi.fr</dc:creator>
  <cp:keywords>Masque; Modèle</cp:keywords>
  <cp:lastModifiedBy>MaT R</cp:lastModifiedBy>
  <cp:revision>409</cp:revision>
  <cp:lastPrinted>2017-01-24T17:37:38Z</cp:lastPrinted>
  <dcterms:created xsi:type="dcterms:W3CDTF">2017-09-04T14:23:47Z</dcterms:created>
  <dcterms:modified xsi:type="dcterms:W3CDTF">2022-08-21T17:5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1A3114A48C843BF13F4DF3916E5DC</vt:lpwstr>
  </property>
  <property fmtid="{D5CDD505-2E9C-101B-9397-08002B2CF9AE}" pid="3" name="MSIP_Label_2fe6cd30-f34f-40ac-8b4a-f43ba5471208_Enabled">
    <vt:lpwstr>true</vt:lpwstr>
  </property>
  <property fmtid="{D5CDD505-2E9C-101B-9397-08002B2CF9AE}" pid="4" name="MSIP_Label_2fe6cd30-f34f-40ac-8b4a-f43ba5471208_SetDate">
    <vt:lpwstr>2022-02-11T11:16:53Z</vt:lpwstr>
  </property>
  <property fmtid="{D5CDD505-2E9C-101B-9397-08002B2CF9AE}" pid="5" name="MSIP_Label_2fe6cd30-f34f-40ac-8b4a-f43ba5471208_Method">
    <vt:lpwstr>Privileged</vt:lpwstr>
  </property>
  <property fmtid="{D5CDD505-2E9C-101B-9397-08002B2CF9AE}" pid="6" name="MSIP_Label_2fe6cd30-f34f-40ac-8b4a-f43ba5471208_Name">
    <vt:lpwstr>Personal</vt:lpwstr>
  </property>
  <property fmtid="{D5CDD505-2E9C-101B-9397-08002B2CF9AE}" pid="7" name="MSIP_Label_2fe6cd30-f34f-40ac-8b4a-f43ba5471208_SiteId">
    <vt:lpwstr>14cb4ab4-62b8-45a2-a944-e225383ee1f9</vt:lpwstr>
  </property>
  <property fmtid="{D5CDD505-2E9C-101B-9397-08002B2CF9AE}" pid="8" name="MSIP_Label_2fe6cd30-f34f-40ac-8b4a-f43ba5471208_ActionId">
    <vt:lpwstr>902329da-6488-4384-9992-38ce9dc7c9e8</vt:lpwstr>
  </property>
  <property fmtid="{D5CDD505-2E9C-101B-9397-08002B2CF9AE}" pid="9" name="MSIP_Label_2fe6cd30-f34f-40ac-8b4a-f43ba5471208_ContentBits">
    <vt:lpwstr>0</vt:lpwstr>
  </property>
  <property fmtid="{D5CDD505-2E9C-101B-9397-08002B2CF9AE}" pid="10" name="_SourceUrl">
    <vt:lpwstr/>
  </property>
  <property fmtid="{D5CDD505-2E9C-101B-9397-08002B2CF9AE}" pid="11" name="_SharedFileIndex">
    <vt:lpwstr/>
  </property>
  <property fmtid="{D5CDD505-2E9C-101B-9397-08002B2CF9AE}" pid="12" name="ComplianceAssetId">
    <vt:lpwstr/>
  </property>
  <property fmtid="{D5CDD505-2E9C-101B-9397-08002B2CF9AE}" pid="13" name="_ExtendedDescription">
    <vt:lpwstr/>
  </property>
  <property fmtid="{D5CDD505-2E9C-101B-9397-08002B2CF9AE}" pid="14" name="TriggerFlowInfo">
    <vt:lpwstr/>
  </property>
</Properties>
</file>